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tags/tag51.xml" ContentType="application/vnd.openxmlformats-officedocument.presentationml.tags+xml"/>
  <Override PartName="/ppt/notesSlides/notesSlide4.xml" ContentType="application/vnd.openxmlformats-officedocument.presentationml.notesSlide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878" r:id="rId5"/>
  </p:sldMasterIdLst>
  <p:notesMasterIdLst>
    <p:notesMasterId r:id="rId13"/>
  </p:notesMasterIdLst>
  <p:sldIdLst>
    <p:sldId id="3936" r:id="rId6"/>
    <p:sldId id="357" r:id="rId7"/>
    <p:sldId id="2147483359" r:id="rId8"/>
    <p:sldId id="298" r:id="rId9"/>
    <p:sldId id="2147483360" r:id="rId10"/>
    <p:sldId id="2147483358" r:id="rId11"/>
    <p:sldId id="2147483361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B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62" autoAdjust="0"/>
    <p:restoredTop sz="94660"/>
  </p:normalViewPr>
  <p:slideViewPr>
    <p:cSldViewPr snapToGrid="0">
      <p:cViewPr varScale="1">
        <p:scale>
          <a:sx n="151" d="100"/>
          <a:sy n="151" d="100"/>
        </p:scale>
        <p:origin x="1872" y="3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4AF644-5CBE-43F9-B123-D9A9B3CD1285}" type="datetimeFigureOut">
              <a:t>30/03/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A2A86-61F0-4E53-B829-49C5C67E875A}" type="slidenum"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08574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EEAD46-0F61-4FA6-3BDE-1033FDD952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D1CC79-C0B0-350D-963D-BF21CA49EF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B04CEB-5356-1B74-C444-EFECFDCAD6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279288-E41B-E93D-8606-910C4A596D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0016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10745-414A-C415-3342-5B7164A2E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3A4032-BEB1-DBF4-3161-6B2C873F08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659AA9-7B90-ABC3-8F0A-53D2484FA6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6C0ED8-C20D-C301-0FCA-FFD7DAC9F3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3686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DE6FC6-F993-B8D1-B936-7F492531B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A657C8-9289-8856-6446-77F732102C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4C8D31-E35E-334F-A969-9BEC7A881B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E7C202-FE44-9580-9725-A9467F37F8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9579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27686-720C-FFB4-BEC3-602B9FEFB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56A284-A644-DF05-C870-3C57508791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8472B5-4E43-9325-B0BE-EC32290EFF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9065DF-3A68-75F3-4756-AEDB8FE21D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5571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2F009A-120A-6F0E-AC05-B349940436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976826-3481-D388-91CF-999B91DCC4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975BD2-492B-3926-F514-FF7EB20FAA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2FC33E-2CCC-4C1A-B306-CFBCB3618F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6F765B-7BD1-4C58-9CFA-31A47231A2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255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A23308-96DD-40F9-80E7-505B5F96C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A23308-96DD-40F9-80E7-505B5F96C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5A96DE1D-B094-504D-AD31-BCD6983E72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73325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 with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D0EE3C-5B7D-412F-AE9D-AFDEB580A8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D0EE3C-5B7D-412F-AE9D-AFDEB580A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E027B3F-BDB5-4B12-946D-CC6002EFBF6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94646" y="2276475"/>
            <a:ext cx="3337560" cy="163677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B042BC1F-2FF1-48C8-93A4-76CFAC061DE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394646" y="4185918"/>
            <a:ext cx="3337560" cy="163677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896EDF08-A5FA-4A69-B651-425FCD7F675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92101" y="2272006"/>
            <a:ext cx="3337560" cy="163677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9FA2D513-F60F-44AA-9777-1C777F1667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92101" y="4181449"/>
            <a:ext cx="3337560" cy="163677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DAF65F8-1530-4EB1-990C-B5A70EBD58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9B2CAE4-FD2B-274F-BC94-AC24CE7F8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32014E1-C513-5344-8CCA-03B7DDFF6B1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048073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with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69655E-2475-4171-BF47-A1C4A3471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69655E-2475-4171-BF47-A1C4A3471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38C5032-AC86-4E25-8140-853408F3240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6762" y="2276471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35D9F94A-647B-4738-9F3F-9D9C31100D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45012" y="2274420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EDA1F384-7E0B-4D5A-8F58-7F40FB40B6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23262" y="2272369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906465F-4042-5640-A40B-EF46FFB06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A04920B-D5E7-5845-B67F-238A24F5A02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34031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4A9EA1-899F-4B1A-AAE4-8E27C18262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4A9EA1-899F-4B1A-AAE4-8E27C1826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38C5032-AC86-4E25-8140-853408F3240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6762" y="2276471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35D9F94A-647B-4738-9F3F-9D9C31100D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45012" y="2274420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EDA1F384-7E0B-4D5A-8F58-7F40FB40B6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23262" y="2272369"/>
            <a:ext cx="3025775" cy="37814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1DEB257-CD88-894F-A680-E633D70C9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489613E-08E9-7141-93CF-82B9C1529CC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805057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with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0C383A-DD24-4A8A-BA6E-CA44B1107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0C383A-DD24-4A8A-BA6E-CA44B1107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96D4E05-4430-4EDE-BE14-75F8FDF41A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6762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D6838DC-BDB6-42EE-86DD-C27EA95156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473050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FCD675E-C305-426A-86AC-3A34A8105E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9338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1C32FBE6-7A8E-4CB8-B11E-603E9A0F60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85626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BFF4B87-439B-FF4F-B249-59E9C5774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2EBFF94-B2F5-B447-A9E1-F1BB2CB0D4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66995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1C2FCC-898D-4C22-BF6D-906979F3AF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41C2FCC-898D-4C22-BF6D-906979F3A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96D4E05-4430-4EDE-BE14-75F8FDF41A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6762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D6838DC-BDB6-42EE-86DD-C27EA95156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473050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FCD675E-C305-426A-86AC-3A34A8105E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9338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1C32FBE6-7A8E-4CB8-B11E-603E9A0F60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85626" y="2276471"/>
            <a:ext cx="2039112" cy="2039112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91EBC3-3FBB-A14B-A576-FE35B74EF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7DD4EDE-6755-C64E-955A-34859B68E7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63653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82868B-AD0E-42FD-9FA4-B3FF44B75B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82868B-AD0E-42FD-9FA4-B3FF44B75B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Picture Placeholder 8">
            <a:extLst>
              <a:ext uri="{FF2B5EF4-FFF2-40B4-BE49-F238E27FC236}">
                <a16:creationId xmlns:a16="http://schemas.microsoft.com/office/drawing/2014/main" id="{8D1A956F-16D9-48BA-B751-A35C5ADB0CD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2634595" cy="1746504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6325751D-953B-466B-9304-5542CA3F064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17618" y="4022979"/>
            <a:ext cx="2634595" cy="1746504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45" name="Picture Placeholder 8">
            <a:extLst>
              <a:ext uri="{FF2B5EF4-FFF2-40B4-BE49-F238E27FC236}">
                <a16:creationId xmlns:a16="http://schemas.microsoft.com/office/drawing/2014/main" id="{41EE3239-CD65-4F14-BC93-E070353845B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59488" y="2276475"/>
            <a:ext cx="2634595" cy="1746504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46" name="Picture Placeholder 8">
            <a:extLst>
              <a:ext uri="{FF2B5EF4-FFF2-40B4-BE49-F238E27FC236}">
                <a16:creationId xmlns:a16="http://schemas.microsoft.com/office/drawing/2014/main" id="{06AB4FCC-C98D-4604-AA49-3D6A2110AC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01358" y="4022979"/>
            <a:ext cx="2634595" cy="1746504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B52E180-0ECA-A746-9FD1-42A4EAE8F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0B60D1B-6BB8-524F-8B23-7A3B6237AA5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47851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E2F804-2CCB-4DF6-B164-582230C0A2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E2F804-2CCB-4DF6-B164-582230C0A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9981A41C-5744-416A-830E-EC5BF0AC94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E29B80D4-F098-47AB-8BAA-EBEC0898317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63276" y="2276475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10D1EAF0-43DA-42E0-ADCB-A7AF49A0708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59789" y="2276475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4" name="Picture Placeholder 8">
            <a:extLst>
              <a:ext uri="{FF2B5EF4-FFF2-40B4-BE49-F238E27FC236}">
                <a16:creationId xmlns:a16="http://schemas.microsoft.com/office/drawing/2014/main" id="{5E86BA18-4C8B-4034-94F7-7AB411684E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4024417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1B0D2156-61E1-472F-AEE3-085B2E99CE6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63276" y="4024417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EE8E774E-AC3F-47A0-91E2-9C3FFA3E93F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59789" y="4024417"/>
            <a:ext cx="3392424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DB3500-CC25-EB4B-83D8-49DE5C2BE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15228FC-0286-FC4E-B496-1518365ABE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2317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F3880E-10DD-4293-8B4B-01D53449E2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F3880E-10DD-4293-8B4B-01D53449E2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8">
            <a:extLst>
              <a:ext uri="{FF2B5EF4-FFF2-40B4-BE49-F238E27FC236}">
                <a16:creationId xmlns:a16="http://schemas.microsoft.com/office/drawing/2014/main" id="{64DA664D-42A9-4995-9F7E-8B0337F7EF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4532" y="2271945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CF864C5B-DE3F-461A-979C-2C13BA59014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49463" y="2276865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3" name="Picture Placeholder 8">
            <a:extLst>
              <a:ext uri="{FF2B5EF4-FFF2-40B4-BE49-F238E27FC236}">
                <a16:creationId xmlns:a16="http://schemas.microsoft.com/office/drawing/2014/main" id="{17F8CC92-E45F-47ED-A3F2-035A4417BED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4394" y="2281785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4E031B4E-C88A-4FC2-96D7-9E3C55DAB9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19325" y="2286705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5" name="Picture Placeholder 8">
            <a:extLst>
              <a:ext uri="{FF2B5EF4-FFF2-40B4-BE49-F238E27FC236}">
                <a16:creationId xmlns:a16="http://schemas.microsoft.com/office/drawing/2014/main" id="{72CEE1C0-9A4C-4303-8A80-A8EDB354344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4532" y="3327243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6" name="Picture Placeholder 8">
            <a:extLst>
              <a:ext uri="{FF2B5EF4-FFF2-40B4-BE49-F238E27FC236}">
                <a16:creationId xmlns:a16="http://schemas.microsoft.com/office/drawing/2014/main" id="{965A1E76-A209-4736-A055-5CE8AE35C39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49463" y="3332163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7" name="Picture Placeholder 8">
            <a:extLst>
              <a:ext uri="{FF2B5EF4-FFF2-40B4-BE49-F238E27FC236}">
                <a16:creationId xmlns:a16="http://schemas.microsoft.com/office/drawing/2014/main" id="{9CAA4209-A13E-43F9-A8BB-27DCDDF2AF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34394" y="3337083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4206B378-8159-409C-AA5E-152B52D6A9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819325" y="3342003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9" name="Picture Placeholder 8">
            <a:extLst>
              <a:ext uri="{FF2B5EF4-FFF2-40B4-BE49-F238E27FC236}">
                <a16:creationId xmlns:a16="http://schemas.microsoft.com/office/drawing/2014/main" id="{F724482D-F64C-4FAB-A263-7B457293230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4532" y="4382541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0" name="Picture Placeholder 8">
            <a:extLst>
              <a:ext uri="{FF2B5EF4-FFF2-40B4-BE49-F238E27FC236}">
                <a16:creationId xmlns:a16="http://schemas.microsoft.com/office/drawing/2014/main" id="{105F1B82-C986-4427-AB86-2312D3161B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49463" y="4387461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1" name="Picture Placeholder 8">
            <a:extLst>
              <a:ext uri="{FF2B5EF4-FFF2-40B4-BE49-F238E27FC236}">
                <a16:creationId xmlns:a16="http://schemas.microsoft.com/office/drawing/2014/main" id="{D6B075CF-F4A2-411F-B280-A0E628C2801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34394" y="4392381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2" name="Picture Placeholder 8">
            <a:extLst>
              <a:ext uri="{FF2B5EF4-FFF2-40B4-BE49-F238E27FC236}">
                <a16:creationId xmlns:a16="http://schemas.microsoft.com/office/drawing/2014/main" id="{9ABC76EE-4C90-4C63-9A06-78087D7208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819325" y="4397301"/>
            <a:ext cx="2532888" cy="914400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2E35213-DE61-2049-BDBC-2F50911B7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6F8AF36-8338-E74C-BDEC-CD652EEE2D9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61921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C5F7E6-840B-4C7F-AF5D-415FF56584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C5F7E6-840B-4C7F-AF5D-415FF5658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Picture Placeholder 8">
            <a:extLst>
              <a:ext uri="{FF2B5EF4-FFF2-40B4-BE49-F238E27FC236}">
                <a16:creationId xmlns:a16="http://schemas.microsoft.com/office/drawing/2014/main" id="{B7DC4BEC-3A43-4F91-9E59-C8ED0E2E79E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6342" y="2138309"/>
            <a:ext cx="640080" cy="64008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6350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4" name="Picture Placeholder 8">
            <a:extLst>
              <a:ext uri="{FF2B5EF4-FFF2-40B4-BE49-F238E27FC236}">
                <a16:creationId xmlns:a16="http://schemas.microsoft.com/office/drawing/2014/main" id="{6439EB4E-E51A-4032-9501-BD7D61C3B0E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76342" y="4178943"/>
            <a:ext cx="640080" cy="64008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6350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5" name="Picture Placeholder 8">
            <a:extLst>
              <a:ext uri="{FF2B5EF4-FFF2-40B4-BE49-F238E27FC236}">
                <a16:creationId xmlns:a16="http://schemas.microsoft.com/office/drawing/2014/main" id="{7EC24CE6-36EB-4FE4-879C-63537C9B2C2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43374" y="2138309"/>
            <a:ext cx="640080" cy="64008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6350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6" name="Picture Placeholder 8">
            <a:extLst>
              <a:ext uri="{FF2B5EF4-FFF2-40B4-BE49-F238E27FC236}">
                <a16:creationId xmlns:a16="http://schemas.microsoft.com/office/drawing/2014/main" id="{D6919CAE-4CFE-4CFB-8F55-B2D23DCF14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43322" y="4178943"/>
            <a:ext cx="640080" cy="64008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6350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87B5D4-1ABB-0749-A69E-FADDBBE35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79574AB-1AED-994D-AAD7-DC39C6F4AC7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40796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E7B48BF5-67DB-4EA7-BE1B-C283126B7B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59420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98CA54AB-4590-4FD9-B966-515D3E482D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99307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tx1">
                <a:lumMod val="10000"/>
                <a:lumOff val="90000"/>
              </a:schemeClr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0968EC42-F2C9-4F34-812C-3D370F4B10C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39194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tx1">
                <a:lumMod val="10000"/>
                <a:lumOff val="90000"/>
              </a:schemeClr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7AC9FE8D-CB0B-4CA0-895B-533C7669F2B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79082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tx1">
                <a:lumMod val="10000"/>
                <a:lumOff val="90000"/>
              </a:schemeClr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2CA9729F-7D94-446D-AB55-9165306B34B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519533" y="5040601"/>
            <a:ext cx="521208" cy="521208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  <a:ln w="57150">
            <a:solidFill>
              <a:schemeClr val="tx1">
                <a:lumMod val="10000"/>
                <a:lumOff val="90000"/>
              </a:schemeClr>
            </a:solidFill>
          </a:ln>
        </p:spPr>
        <p:txBody>
          <a:bodyPr anchor="ctr"/>
          <a:lstStyle>
            <a:lvl1pPr algn="ctr">
              <a:buNone/>
              <a:defRPr sz="7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3E6155-2D94-0445-A965-3EBB84C16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659B843-1981-EF4B-AB7E-760B616B72D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41183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3A4973CA-ADF2-9549-A7B7-6986927F6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F74B0C74-A7DE-7949-B774-02F03FC6A3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71739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 with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913355-9062-40BF-9395-BE2FF71BBB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913355-9062-40BF-9395-BE2FF71BB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64B151E8-30A4-4869-8D38-DE9A71B72C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2243137" cy="30241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5760FE-4A8D-DF40-9BB4-A57D0FC14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0DF8EA1-5B4A-AB41-815A-E58E4F0D7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23286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C6E921-A669-459C-AA3A-0A3B35A73C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C6E921-A669-459C-AA3A-0A3B35A73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E617972A-9F4F-433F-AB9E-EDB840E1BB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CA407A5E-1759-4281-8BD0-11EFBB60239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48188" y="2277269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A9EA67F5-65E1-4314-BC11-27C86125907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29613" y="2278063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831768-DA04-B04D-B56E-DE764F8A0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6B660B3-C8CB-5A4A-B1CE-571C82778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75409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3C51B3D-DF5A-4686-9653-224986831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3C51B3D-DF5A-4686-9653-224986831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E617972A-9F4F-433F-AB9E-EDB840E1BB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3" y="2276475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CA407A5E-1759-4281-8BD0-11EFBB60239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48188" y="2277269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A9EA67F5-65E1-4314-BC11-27C86125907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29613" y="2278063"/>
            <a:ext cx="3025775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07BED7-C570-7C43-9977-D39D6C165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03566ED-4ED7-AE4D-8D7D-23C1DF4989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6914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87618C-110D-46FC-B5C0-5AE16A3977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87618C-110D-46FC-B5C0-5AE16A3977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69AD7761-778D-4D15-AE85-3B1106AD5C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5999" y="4416165"/>
            <a:ext cx="2267712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37" name="Picture Placeholder 8">
            <a:extLst>
              <a:ext uri="{FF2B5EF4-FFF2-40B4-BE49-F238E27FC236}">
                <a16:creationId xmlns:a16="http://schemas.microsoft.com/office/drawing/2014/main" id="{6D13BBA1-E561-48B7-A611-6BB4EC95133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40821" y="4416165"/>
            <a:ext cx="2267712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8" name="Picture Placeholder 8">
            <a:extLst>
              <a:ext uri="{FF2B5EF4-FFF2-40B4-BE49-F238E27FC236}">
                <a16:creationId xmlns:a16="http://schemas.microsoft.com/office/drawing/2014/main" id="{C791389D-D9D6-4D9E-847A-6835AD39B95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643" y="4416165"/>
            <a:ext cx="2267712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9" name="Picture Placeholder 8">
            <a:extLst>
              <a:ext uri="{FF2B5EF4-FFF2-40B4-BE49-F238E27FC236}">
                <a16:creationId xmlns:a16="http://schemas.microsoft.com/office/drawing/2014/main" id="{8FD1FB72-0815-44A8-83F3-F457F16FD2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70465" y="4416165"/>
            <a:ext cx="2267712" cy="15128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4CB7BB-7110-1644-978B-0E96C5BA0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310D462-BE32-BB42-B780-8293EB1A5AD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365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370C62-CB94-4951-849E-3703385D72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370C62-CB94-4951-849E-3703385D72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69AD7761-778D-4D15-AE85-3B1106AD5C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5998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354A04D-D7D9-4044-A5EE-661BBEF681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8923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8C2F4EE3-07CB-44A7-B4A9-19B25F83C41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41848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11A0D35-BC87-F046-9988-D1ADCEC45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1DCB773-405B-CC4F-86D3-3E316BD11AD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49204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ith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F34F5F-77AC-48B9-8D14-E40D580047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F34F5F-77AC-48B9-8D14-E40D580047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69AD7761-778D-4D15-AE85-3B1106AD5C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5998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354A04D-D7D9-4044-A5EE-661BBEF681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8923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8C2F4EE3-07CB-44A7-B4A9-19B25F83C41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41848" y="2544763"/>
            <a:ext cx="3410365" cy="212343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8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EB91952-1DF7-4A58-A17B-C075C265A0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3ACFB5-F226-A842-A39E-77349D971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5681FDD-C0BE-E944-B436-61C3C1DA553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21821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A23308-96DD-40F9-80E7-505B5F96C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A23308-96DD-40F9-80E7-505B5F96C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E1D34A80-EA44-4B3A-9192-82FA96038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3258" y="578202"/>
            <a:ext cx="10515600" cy="886732"/>
          </a:xfrm>
          <a:prstGeom prst="rect">
            <a:avLst/>
          </a:prstGeom>
        </p:spPr>
        <p:txBody>
          <a:bodyPr vert="horz" anchor="ctr"/>
          <a:lstStyle>
            <a:lvl1pPr algn="l">
              <a:defRPr sz="4800" b="0" i="0">
                <a:solidFill>
                  <a:schemeClr val="tx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main title here</a:t>
            </a:r>
            <a:endParaRPr lang="en-MY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DAF65F8-1530-4EB1-990C-B5A70EBD58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7AE45660-ADB2-2345-AB7C-4B62EC01F2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80685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bout Us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632D0C-CC2E-4F2F-BEEF-16653E3B28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632D0C-CC2E-4F2F-BEEF-16653E3B2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7E40CBE-5798-4E3D-B094-EE029C6E9AE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16789" y="782637"/>
            <a:ext cx="4535424" cy="5292725"/>
          </a:xfrm>
          <a:custGeom>
            <a:avLst/>
            <a:gdLst>
              <a:gd name="connsiteX0" fmla="*/ 0 w 4535424"/>
              <a:gd name="connsiteY0" fmla="*/ 3598711 h 5292725"/>
              <a:gd name="connsiteX1" fmla="*/ 4535058 w 4535424"/>
              <a:gd name="connsiteY1" fmla="*/ 3598711 h 5292725"/>
              <a:gd name="connsiteX2" fmla="*/ 4535058 w 4535424"/>
              <a:gd name="connsiteY2" fmla="*/ 5292725 h 5292725"/>
              <a:gd name="connsiteX3" fmla="*/ 0 w 4535424"/>
              <a:gd name="connsiteY3" fmla="*/ 5292725 h 5292725"/>
              <a:gd name="connsiteX4" fmla="*/ 366 w 4535424"/>
              <a:gd name="connsiteY4" fmla="*/ 1799356 h 5292725"/>
              <a:gd name="connsiteX5" fmla="*/ 4535424 w 4535424"/>
              <a:gd name="connsiteY5" fmla="*/ 1799356 h 5292725"/>
              <a:gd name="connsiteX6" fmla="*/ 4535424 w 4535424"/>
              <a:gd name="connsiteY6" fmla="*/ 3493370 h 5292725"/>
              <a:gd name="connsiteX7" fmla="*/ 366 w 4535424"/>
              <a:gd name="connsiteY7" fmla="*/ 3493370 h 5292725"/>
              <a:gd name="connsiteX8" fmla="*/ 366 w 4535424"/>
              <a:gd name="connsiteY8" fmla="*/ 0 h 5292725"/>
              <a:gd name="connsiteX9" fmla="*/ 4535424 w 4535424"/>
              <a:gd name="connsiteY9" fmla="*/ 0 h 5292725"/>
              <a:gd name="connsiteX10" fmla="*/ 4535424 w 4535424"/>
              <a:gd name="connsiteY10" fmla="*/ 1694014 h 5292725"/>
              <a:gd name="connsiteX11" fmla="*/ 366 w 4535424"/>
              <a:gd name="connsiteY11" fmla="*/ 1694014 h 5292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35424" h="5292725">
                <a:moveTo>
                  <a:pt x="0" y="3598711"/>
                </a:moveTo>
                <a:lnTo>
                  <a:pt x="4535058" y="3598711"/>
                </a:lnTo>
                <a:lnTo>
                  <a:pt x="4535058" y="5292725"/>
                </a:lnTo>
                <a:lnTo>
                  <a:pt x="0" y="5292725"/>
                </a:lnTo>
                <a:close/>
                <a:moveTo>
                  <a:pt x="366" y="1799356"/>
                </a:moveTo>
                <a:lnTo>
                  <a:pt x="4535424" y="1799356"/>
                </a:lnTo>
                <a:lnTo>
                  <a:pt x="4535424" y="3493370"/>
                </a:lnTo>
                <a:lnTo>
                  <a:pt x="366" y="3493370"/>
                </a:lnTo>
                <a:close/>
                <a:moveTo>
                  <a:pt x="366" y="0"/>
                </a:moveTo>
                <a:lnTo>
                  <a:pt x="4535424" y="0"/>
                </a:lnTo>
                <a:lnTo>
                  <a:pt x="4535424" y="1694014"/>
                </a:lnTo>
                <a:lnTo>
                  <a:pt x="366" y="1694014"/>
                </a:ln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A685DD8-2682-4DC3-A43C-D5AF0EC77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3258" y="578202"/>
            <a:ext cx="10515600" cy="886732"/>
          </a:xfrm>
          <a:prstGeom prst="rect">
            <a:avLst/>
          </a:prstGeom>
        </p:spPr>
        <p:txBody>
          <a:bodyPr vert="horz" anchor="ctr"/>
          <a:lstStyle>
            <a:lvl1pPr algn="l">
              <a:defRPr sz="4800" b="0" i="0">
                <a:solidFill>
                  <a:schemeClr val="tx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main title here</a:t>
            </a:r>
            <a:endParaRPr lang="en-MY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BE4F943C-4562-6A44-B5C7-A58BFD03D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11811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ont page 1">
    <p:bg>
      <p:bgPr>
        <a:solidFill>
          <a:srgbClr val="FDBF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8C97D52-63A9-B14D-B6FB-78DE4483B0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987200"/>
            <a:ext cx="7761964" cy="5699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 spc="300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>
                <a:latin typeface="Trebuchet MS" panose="020B0703020202090204" pitchFamily="34" charset="0"/>
              </a:rPr>
              <a:t>JOE &amp; THE JUICE – month, 20XX</a:t>
            </a:r>
            <a:endParaRPr lang="en-GB" sz="2800">
              <a:latin typeface="Trebuchet MS" panose="020B070302020209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9B38B3-C761-3046-97A3-558D94DF3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 algn="l">
              <a:defRPr sz="4000" b="1" i="0">
                <a:latin typeface="+mj-lt"/>
                <a:cs typeface="Univers Condensed" panose="020F0502020204030204" pitchFamily="34" charset="0"/>
              </a:defRPr>
            </a:lvl1pPr>
          </a:lstStyle>
          <a:p>
            <a:r>
              <a:rPr lang="en-US"/>
              <a:t>Add a meaningful title </a:t>
            </a:r>
          </a:p>
        </p:txBody>
      </p:sp>
      <p:pic>
        <p:nvPicPr>
          <p:cNvPr id="5" name="Picture 5" descr="A person carrying a surfboard&#10;&#10;Description automatically generated with medium confidence">
            <a:extLst>
              <a:ext uri="{FF2B5EF4-FFF2-40B4-BE49-F238E27FC236}">
                <a16:creationId xmlns:a16="http://schemas.microsoft.com/office/drawing/2014/main" id="{6F67F776-8157-7748-BA79-409D89DD1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8280" y="1996008"/>
            <a:ext cx="6903720" cy="4870958"/>
          </a:xfrm>
          <a:prstGeom prst="rect">
            <a:avLst/>
          </a:prstGeom>
        </p:spPr>
      </p:pic>
      <p:pic>
        <p:nvPicPr>
          <p:cNvPr id="6" name="Picture 18" descr="Icon&#10;&#10;Description automatically generated">
            <a:extLst>
              <a:ext uri="{FF2B5EF4-FFF2-40B4-BE49-F238E27FC236}">
                <a16:creationId xmlns:a16="http://schemas.microsoft.com/office/drawing/2014/main" id="{64912807-D589-0D40-BDF1-9D4D7B182A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4680" y="5568921"/>
            <a:ext cx="980043" cy="980043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D75DE48F-FA0B-A853-FA85-F16E342619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282BF54A-C8AA-9E2E-5DAA-9E50917F9C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9" name="Rektangel 35">
            <a:extLst>
              <a:ext uri="{FF2B5EF4-FFF2-40B4-BE49-F238E27FC236}">
                <a16:creationId xmlns:a16="http://schemas.microsoft.com/office/drawing/2014/main" id="{458BEFF8-74E7-E332-22FF-364A483528D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10" name="Rektangel 36">
            <a:extLst>
              <a:ext uri="{FF2B5EF4-FFF2-40B4-BE49-F238E27FC236}">
                <a16:creationId xmlns:a16="http://schemas.microsoft.com/office/drawing/2014/main" id="{73F6F4F8-6825-9A04-0D48-F68E11A8B1E9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1" name="Tekstfelt 37">
            <a:extLst>
              <a:ext uri="{FF2B5EF4-FFF2-40B4-BE49-F238E27FC236}">
                <a16:creationId xmlns:a16="http://schemas.microsoft.com/office/drawing/2014/main" id="{AC8C0E5A-70C7-9FFC-CF05-66F4382F023B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8">
            <a:extLst>
              <a:ext uri="{FF2B5EF4-FFF2-40B4-BE49-F238E27FC236}">
                <a16:creationId xmlns:a16="http://schemas.microsoft.com/office/drawing/2014/main" id="{BA026169-64A4-9438-DD7A-0DDDE0F0B45C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39">
            <a:extLst>
              <a:ext uri="{FF2B5EF4-FFF2-40B4-BE49-F238E27FC236}">
                <a16:creationId xmlns:a16="http://schemas.microsoft.com/office/drawing/2014/main" id="{501F3BCC-D6CB-2181-AC3A-7BDE05FBA80B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4" name="Tekstfelt 40">
            <a:extLst>
              <a:ext uri="{FF2B5EF4-FFF2-40B4-BE49-F238E27FC236}">
                <a16:creationId xmlns:a16="http://schemas.microsoft.com/office/drawing/2014/main" id="{070109C8-AE55-7E95-AB95-A845DDC6BD0F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BE549338-4A3B-2E17-39E3-0CC8937D7064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B0B061E3-C72D-42D5-4797-805272543C5D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16721C11-EB05-8F79-BA11-59E16826346B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8D6E12B9-8A59-9CEB-CD62-F36926254BCB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29BFFAB1-7F76-4958-4AE1-5C597EE611D5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4621F205-344C-0064-CA0B-530393936F0C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FD6F27E2-4914-B213-A9FD-1187E5C0F59B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0A9F3CF9-F9E3-C227-C7AB-6ECE589F2AB1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9C24C70F-8058-7962-F19C-4699A7719CA0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0977A24A-A2B0-7C2B-FD5A-2DACC5AEAB35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80364220-674A-BCA9-B9B8-1E63797FDDCD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FD4DEF0C-059A-6B09-9E41-33A00A7A8A6C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973BF484-988E-AB18-2A49-7611663896DA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413F7D10-B2A4-20D1-73FD-8C7FACC67DA2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2B8B2546-16E6-3D6C-5A6C-4F5A07C5C866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48039D76-4497-3E91-F3AB-6914DB6571E7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EE8AB8EF-DE5D-88A6-AC73-8E6261E8F527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99AD8368-84B9-F15C-D966-B82251ED472A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44647012-E2A7-4FF2-96BD-36807FEA53C2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39FA268A-8A3A-0203-C5A8-726906E212DD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7427640F-04CC-975A-0690-91B51FA03059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E4513699-64CE-2083-C2D9-F63B8792BFE5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BB306D2C-32D0-2CF5-C297-80244DC2224D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6D3E8ECD-532D-2ABA-94AC-EE7D1DC039B1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2B9879E4-DE56-B9DF-E830-3C07B4C3EF4C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0A7F6581-8E94-05D1-E022-C2E9CFF58AB1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1C82B99F-FB54-CD29-BA7A-5916659D5938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EE9FA783-D997-BB7F-2336-CE40E3E2DD30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1C536BC6-09C7-FF2A-8F2F-3B3BA796C2FC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4A3F75C7-6194-A542-7DC5-FD35562E6CC6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9C1D5A19-9344-C607-701D-580568A7C15F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BB317339-3EB7-746D-625A-BCB97ABE69C9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7ADD215B-8DFA-359F-9BB3-A3A6640364DB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28C29814-B232-F114-3E50-E8EEACED68F1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B3D55F96-9A09-6CA9-A164-670115074717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75BF84DB-F566-38B5-6FD5-89F425F6CFF6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C3B8EA7F-8BA9-DFBA-D1C5-82C74C2B479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720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4739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632D0C-CC2E-4F2F-BEEF-16653E3B28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632D0C-CC2E-4F2F-BEEF-16653E3B2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7E40CBE-5798-4E3D-B094-EE029C6E9AE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16789" y="782637"/>
            <a:ext cx="4535424" cy="5292725"/>
          </a:xfrm>
          <a:custGeom>
            <a:avLst/>
            <a:gdLst>
              <a:gd name="connsiteX0" fmla="*/ 0 w 4535424"/>
              <a:gd name="connsiteY0" fmla="*/ 3598711 h 5292725"/>
              <a:gd name="connsiteX1" fmla="*/ 4535058 w 4535424"/>
              <a:gd name="connsiteY1" fmla="*/ 3598711 h 5292725"/>
              <a:gd name="connsiteX2" fmla="*/ 4535058 w 4535424"/>
              <a:gd name="connsiteY2" fmla="*/ 5292725 h 5292725"/>
              <a:gd name="connsiteX3" fmla="*/ 0 w 4535424"/>
              <a:gd name="connsiteY3" fmla="*/ 5292725 h 5292725"/>
              <a:gd name="connsiteX4" fmla="*/ 366 w 4535424"/>
              <a:gd name="connsiteY4" fmla="*/ 1799356 h 5292725"/>
              <a:gd name="connsiteX5" fmla="*/ 4535424 w 4535424"/>
              <a:gd name="connsiteY5" fmla="*/ 1799356 h 5292725"/>
              <a:gd name="connsiteX6" fmla="*/ 4535424 w 4535424"/>
              <a:gd name="connsiteY6" fmla="*/ 3493370 h 5292725"/>
              <a:gd name="connsiteX7" fmla="*/ 366 w 4535424"/>
              <a:gd name="connsiteY7" fmla="*/ 3493370 h 5292725"/>
              <a:gd name="connsiteX8" fmla="*/ 366 w 4535424"/>
              <a:gd name="connsiteY8" fmla="*/ 0 h 5292725"/>
              <a:gd name="connsiteX9" fmla="*/ 4535424 w 4535424"/>
              <a:gd name="connsiteY9" fmla="*/ 0 h 5292725"/>
              <a:gd name="connsiteX10" fmla="*/ 4535424 w 4535424"/>
              <a:gd name="connsiteY10" fmla="*/ 1694014 h 5292725"/>
              <a:gd name="connsiteX11" fmla="*/ 366 w 4535424"/>
              <a:gd name="connsiteY11" fmla="*/ 1694014 h 5292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35424" h="5292725">
                <a:moveTo>
                  <a:pt x="0" y="3598711"/>
                </a:moveTo>
                <a:lnTo>
                  <a:pt x="4535058" y="3598711"/>
                </a:lnTo>
                <a:lnTo>
                  <a:pt x="4535058" y="5292725"/>
                </a:lnTo>
                <a:lnTo>
                  <a:pt x="0" y="5292725"/>
                </a:lnTo>
                <a:close/>
                <a:moveTo>
                  <a:pt x="366" y="1799356"/>
                </a:moveTo>
                <a:lnTo>
                  <a:pt x="4535424" y="1799356"/>
                </a:lnTo>
                <a:lnTo>
                  <a:pt x="4535424" y="3493370"/>
                </a:lnTo>
                <a:lnTo>
                  <a:pt x="366" y="3493370"/>
                </a:lnTo>
                <a:close/>
                <a:moveTo>
                  <a:pt x="366" y="0"/>
                </a:moveTo>
                <a:lnTo>
                  <a:pt x="4535424" y="0"/>
                </a:lnTo>
                <a:lnTo>
                  <a:pt x="4535424" y="1694014"/>
                </a:lnTo>
                <a:lnTo>
                  <a:pt x="366" y="1694014"/>
                </a:ln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8E9831D-7FF1-6148-A98D-B897EB138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56C9C3C4-4DC9-0044-B451-FD06DC180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25469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9E80F707-103A-8844-89D6-F38B7B8CA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9460" y="6585853"/>
            <a:ext cx="4114800" cy="164592"/>
          </a:xfrm>
          <a:prstGeom prst="rect">
            <a:avLst/>
          </a:prstGeom>
        </p:spPr>
        <p:txBody>
          <a:bodyPr/>
          <a:lstStyle>
            <a:lvl1pPr>
              <a:defRPr lang="en-US" sz="800" b="0" baseline="0">
                <a:solidFill>
                  <a:srgbClr val="23272A"/>
                </a:solidFill>
                <a:latin typeface="Trebuchet MS" panose="020B0703020202090204" pitchFamily="34" charset="0"/>
                <a:ea typeface="Roboto" panose="02000000000000000000" pitchFamily="2" charset="0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Notes: 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7D5BE61-0DC5-8C4F-B82C-21B355196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21343" y="6576377"/>
            <a:ext cx="2743200" cy="15979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8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ea typeface="Roboto" panose="02000000000000000000" pitchFamily="2" charset="0"/>
              </a:defRPr>
            </a:lvl1pPr>
          </a:lstStyle>
          <a:p>
            <a:pPr algn="r"/>
            <a:r>
              <a:rPr lang="en-GB"/>
              <a:t>Page </a:t>
            </a:r>
            <a:fld id="{03D99B62-048C-4CCE-9216-957B53D525C7}" type="slidenum">
              <a:rPr smtClean="0"/>
              <a:pPr algn="r"/>
              <a:t>‹nr.›</a:t>
            </a:fld>
            <a:endParaRPr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2710D1C-D390-4D4E-81FB-3CF1A293A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86" y="192026"/>
            <a:ext cx="10515600" cy="4801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56463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Subtitle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BEDF0EC-B4B6-6463-58F6-D42939843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0182" y="689055"/>
            <a:ext cx="4903842" cy="50474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buNone/>
              <a:defRPr sz="3200" b="1" i="0" spc="-50" baseline="0">
                <a:solidFill>
                  <a:schemeClr val="tx2"/>
                </a:solidFill>
                <a:latin typeface="Roboto Flex Normal" panose="02000000000000000000" pitchFamily="2" charset="0"/>
                <a:ea typeface="Roboto Flex Normal" panose="02000000000000000000" pitchFamily="2" charset="0"/>
              </a:defRPr>
            </a:lvl1pPr>
          </a:lstStyle>
          <a:p>
            <a:pPr lvl="0"/>
            <a:r>
              <a:rPr lang="en-US" dirty="0"/>
              <a:t>ADD SLIDE TITLE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C114906-ECD1-DDEF-E3E2-BDF0E5D083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343" y="6553420"/>
            <a:ext cx="3109201" cy="1863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 b="0" i="0">
                <a:latin typeface="Roboto Flex Normal" panose="02000000000000000000" pitchFamily="2" charset="0"/>
                <a:ea typeface="Roboto Flex Normal" panose="02000000000000000000" pitchFamily="2" charset="0"/>
              </a:defRPr>
            </a:lvl1pPr>
          </a:lstStyle>
          <a:p>
            <a:pPr lvl="0"/>
            <a:r>
              <a:rPr lang="en-US" dirty="0"/>
              <a:t>A space for any small notes you may need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FCF95AA-5A5E-24FB-5C59-00A8ADDD2A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" y="1325466"/>
            <a:ext cx="3663315" cy="26685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 spc="150" baseline="0">
                <a:solidFill>
                  <a:schemeClr val="accent1"/>
                </a:solidFill>
                <a:latin typeface="Roboto Flex Normal ExtraLight" panose="02000000000000000000" pitchFamily="2" charset="0"/>
                <a:ea typeface="Roboto Flex Normal ExtraLight" panose="02000000000000000000" pitchFamily="2" charset="0"/>
              </a:defRPr>
            </a:lvl1pPr>
          </a:lstStyle>
          <a:p>
            <a:pPr lvl="0"/>
            <a:r>
              <a:rPr lang="en-US" dirty="0"/>
              <a:t>ADD A SUBHEADING IF YOU NEED ON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974210F-E1CA-52F2-3FD2-404323D5B053}"/>
              </a:ext>
            </a:extLst>
          </p:cNvPr>
          <p:cNvSpPr txBox="1">
            <a:spLocks/>
          </p:cNvSpPr>
          <p:nvPr userDrawn="1"/>
        </p:nvSpPr>
        <p:spPr>
          <a:xfrm>
            <a:off x="11679651" y="6399922"/>
            <a:ext cx="263379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800" b="1" i="0" smtClean="0">
                <a:solidFill>
                  <a:schemeClr val="tx1"/>
                </a:solidFill>
                <a:latin typeface="Roboto Flex Normal SemiBold" panose="02000000000000000000" pitchFamily="2" charset="0"/>
                <a:ea typeface="Roboto Flex Normal SemiBold" panose="02000000000000000000" pitchFamily="2" charset="0"/>
                <a:cs typeface="Open Sans Light" panose="020B0306030504020204" pitchFamily="34" charset="0"/>
              </a:rPr>
              <a:pPr algn="ctr"/>
              <a:t>‹nr.›</a:t>
            </a:fld>
            <a:endParaRPr lang="en-US" sz="1200" b="1" i="0" dirty="0">
              <a:solidFill>
                <a:schemeClr val="tx1"/>
              </a:solidFill>
              <a:latin typeface="Roboto Flex Normal SemiBold" panose="02000000000000000000" pitchFamily="2" charset="0"/>
              <a:ea typeface="Roboto Flex Normal SemiBold" panose="02000000000000000000" pitchFamily="2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756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 page 1">
    <p:bg>
      <p:bgPr>
        <a:solidFill>
          <a:srgbClr val="FDBF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8C97D52-63A9-B14D-B6FB-78DE4483B0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987200"/>
            <a:ext cx="7761964" cy="5699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 spc="300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>
                <a:latin typeface="Trebuchet MS" panose="020B0703020202090204" pitchFamily="34" charset="0"/>
              </a:rPr>
              <a:t>JOE &amp; THE JUICE – month, 20XX</a:t>
            </a:r>
            <a:endParaRPr lang="en-GB" sz="2800">
              <a:latin typeface="Trebuchet MS" panose="020B070302020209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9B38B3-C761-3046-97A3-558D94DF3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 algn="l">
              <a:defRPr sz="4000" b="1" i="0">
                <a:latin typeface="+mj-lt"/>
                <a:cs typeface="Univers Condensed" panose="020F0502020204030204" pitchFamily="34" charset="0"/>
              </a:defRPr>
            </a:lvl1pPr>
          </a:lstStyle>
          <a:p>
            <a:r>
              <a:rPr lang="en-US"/>
              <a:t>Add a meaningful title </a:t>
            </a:r>
          </a:p>
        </p:txBody>
      </p:sp>
      <p:pic>
        <p:nvPicPr>
          <p:cNvPr id="5" name="Picture 5" descr="A person carrying a surfboard&#10;&#10;Description automatically generated with medium confidence">
            <a:extLst>
              <a:ext uri="{FF2B5EF4-FFF2-40B4-BE49-F238E27FC236}">
                <a16:creationId xmlns:a16="http://schemas.microsoft.com/office/drawing/2014/main" id="{6F67F776-8157-7748-BA79-409D89DD1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8280" y="1996008"/>
            <a:ext cx="6903720" cy="4870958"/>
          </a:xfrm>
          <a:prstGeom prst="rect">
            <a:avLst/>
          </a:prstGeom>
        </p:spPr>
      </p:pic>
      <p:pic>
        <p:nvPicPr>
          <p:cNvPr id="6" name="Picture 18" descr="Icon&#10;&#10;Description automatically generated">
            <a:extLst>
              <a:ext uri="{FF2B5EF4-FFF2-40B4-BE49-F238E27FC236}">
                <a16:creationId xmlns:a16="http://schemas.microsoft.com/office/drawing/2014/main" id="{64912807-D589-0D40-BDF1-9D4D7B182A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4680" y="5568921"/>
            <a:ext cx="980043" cy="980043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D75DE48F-FA0B-A853-FA85-F16E342619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282BF54A-C8AA-9E2E-5DAA-9E50917F9C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9" name="Rektangel 35">
            <a:extLst>
              <a:ext uri="{FF2B5EF4-FFF2-40B4-BE49-F238E27FC236}">
                <a16:creationId xmlns:a16="http://schemas.microsoft.com/office/drawing/2014/main" id="{458BEFF8-74E7-E332-22FF-364A483528D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10" name="Rektangel 36">
            <a:extLst>
              <a:ext uri="{FF2B5EF4-FFF2-40B4-BE49-F238E27FC236}">
                <a16:creationId xmlns:a16="http://schemas.microsoft.com/office/drawing/2014/main" id="{73F6F4F8-6825-9A04-0D48-F68E11A8B1E9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1" name="Tekstfelt 37">
            <a:extLst>
              <a:ext uri="{FF2B5EF4-FFF2-40B4-BE49-F238E27FC236}">
                <a16:creationId xmlns:a16="http://schemas.microsoft.com/office/drawing/2014/main" id="{AC8C0E5A-70C7-9FFC-CF05-66F4382F023B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8">
            <a:extLst>
              <a:ext uri="{FF2B5EF4-FFF2-40B4-BE49-F238E27FC236}">
                <a16:creationId xmlns:a16="http://schemas.microsoft.com/office/drawing/2014/main" id="{BA026169-64A4-9438-DD7A-0DDDE0F0B45C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39">
            <a:extLst>
              <a:ext uri="{FF2B5EF4-FFF2-40B4-BE49-F238E27FC236}">
                <a16:creationId xmlns:a16="http://schemas.microsoft.com/office/drawing/2014/main" id="{501F3BCC-D6CB-2181-AC3A-7BDE05FBA80B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4" name="Tekstfelt 40">
            <a:extLst>
              <a:ext uri="{FF2B5EF4-FFF2-40B4-BE49-F238E27FC236}">
                <a16:creationId xmlns:a16="http://schemas.microsoft.com/office/drawing/2014/main" id="{070109C8-AE55-7E95-AB95-A845DDC6BD0F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BE549338-4A3B-2E17-39E3-0CC8937D7064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B0B061E3-C72D-42D5-4797-805272543C5D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16721C11-EB05-8F79-BA11-59E16826346B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8D6E12B9-8A59-9CEB-CD62-F36926254BCB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29BFFAB1-7F76-4958-4AE1-5C597EE611D5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4621F205-344C-0064-CA0B-530393936F0C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FD6F27E2-4914-B213-A9FD-1187E5C0F59B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0A9F3CF9-F9E3-C227-C7AB-6ECE589F2AB1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9C24C70F-8058-7962-F19C-4699A7719CA0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0977A24A-A2B0-7C2B-FD5A-2DACC5AEAB35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80364220-674A-BCA9-B9B8-1E63797FDDCD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FD4DEF0C-059A-6B09-9E41-33A00A7A8A6C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973BF484-988E-AB18-2A49-7611663896DA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413F7D10-B2A4-20D1-73FD-8C7FACC67DA2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2B8B2546-16E6-3D6C-5A6C-4F5A07C5C866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48039D76-4497-3E91-F3AB-6914DB6571E7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EE8AB8EF-DE5D-88A6-AC73-8E6261E8F527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99AD8368-84B9-F15C-D966-B82251ED472A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44647012-E2A7-4FF2-96BD-36807FEA53C2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39FA268A-8A3A-0203-C5A8-726906E212DD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7427640F-04CC-975A-0690-91B51FA03059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E4513699-64CE-2083-C2D9-F63B8792BFE5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BB306D2C-32D0-2CF5-C297-80244DC2224D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6D3E8ECD-532D-2ABA-94AC-EE7D1DC039B1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2B9879E4-DE56-B9DF-E830-3C07B4C3EF4C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0A7F6581-8E94-05D1-E022-C2E9CFF58AB1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1C82B99F-FB54-CD29-BA7A-5916659D5938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EE9FA783-D997-BB7F-2336-CE40E3E2DD30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1C536BC6-09C7-FF2A-8F2F-3B3BA796C2FC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4A3F75C7-6194-A542-7DC5-FD35562E6CC6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9C1D5A19-9344-C607-701D-580568A7C15F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BB317339-3EB7-746D-625A-BCB97ABE69C9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7ADD215B-8DFA-359F-9BB3-A3A6640364DB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28C29814-B232-F114-3E50-E8EEACED68F1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B3D55F96-9A09-6CA9-A164-670115074717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75BF84DB-F566-38B5-6FD5-89F425F6CFF6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C3B8EA7F-8BA9-DFBA-D1C5-82C74C2B479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9460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6CFDA9BD-193D-46D6-FFB7-FFCA27E9A0A5}"/>
              </a:ext>
            </a:extLst>
          </p:cNvPr>
          <p:cNvGrpSpPr/>
          <p:nvPr/>
        </p:nvGrpSpPr>
        <p:grpSpPr>
          <a:xfrm>
            <a:off x="0" y="6800334"/>
            <a:ext cx="12192000" cy="68424"/>
            <a:chOff x="0" y="6197768"/>
            <a:chExt cx="12192000" cy="6842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E48242D-A86A-C1C4-E403-E1337BABCCBE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B924A94-B8D1-D6AE-0E3C-BDEF1EC909CC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87938CD-7AAC-9F31-4D01-B5673BE36358}"/>
              </a:ext>
            </a:extLst>
          </p:cNvPr>
          <p:cNvGrpSpPr/>
          <p:nvPr/>
        </p:nvGrpSpPr>
        <p:grpSpPr>
          <a:xfrm>
            <a:off x="0" y="6800334"/>
            <a:ext cx="12192000" cy="68424"/>
            <a:chOff x="0" y="6197768"/>
            <a:chExt cx="12192000" cy="6842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240A34F-1A54-5FC0-0BE2-3A995A057070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BB7306A-DE50-DC34-053C-95CB850B1929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98C97D52-63A9-B14D-B6FB-78DE4483B0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81954" y="4431487"/>
            <a:ext cx="7428089" cy="5699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600" b="0" i="0" spc="120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DK"/>
              <a:t>Subtitle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9B38B3-C761-3046-97A3-558D94DF3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2743" y="2927350"/>
            <a:ext cx="9126513" cy="646331"/>
          </a:xfrm>
          <a:prstGeom prst="rect">
            <a:avLst/>
          </a:prstGeom>
        </p:spPr>
        <p:txBody>
          <a:bodyPr/>
          <a:lstStyle>
            <a:lvl1pPr algn="ctr">
              <a:defRPr sz="4000" b="1" i="0">
                <a:latin typeface="Trebuchet MS" panose="020B0603020202020204" pitchFamily="34" charset="0"/>
                <a:cs typeface="Trebuchet MS" panose="020B0603020202020204" pitchFamily="34" charset="0"/>
              </a:defRPr>
            </a:lvl1pPr>
          </a:lstStyle>
          <a:p>
            <a:r>
              <a:rPr lang="en-US"/>
              <a:t>Add a meaningful title </a:t>
            </a:r>
          </a:p>
        </p:txBody>
      </p:sp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DB6F0541-4C16-9465-D94B-6C083BA54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460" y="257043"/>
            <a:ext cx="308932" cy="308932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F304CF6A-8CE3-D28B-57A8-5929875A88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682A0393-5BA7-252E-6F04-483D32EB32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13" name="Rektangel 35">
            <a:extLst>
              <a:ext uri="{FF2B5EF4-FFF2-40B4-BE49-F238E27FC236}">
                <a16:creationId xmlns:a16="http://schemas.microsoft.com/office/drawing/2014/main" id="{1A98D323-5314-4845-9D7A-F0D725455FB9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35" name="Rektangel 36">
            <a:extLst>
              <a:ext uri="{FF2B5EF4-FFF2-40B4-BE49-F238E27FC236}">
                <a16:creationId xmlns:a16="http://schemas.microsoft.com/office/drawing/2014/main" id="{FF5AF487-1FDC-BDE0-2FFB-3D0AAF51B70A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36" name="Tekstfelt 37">
            <a:extLst>
              <a:ext uri="{FF2B5EF4-FFF2-40B4-BE49-F238E27FC236}">
                <a16:creationId xmlns:a16="http://schemas.microsoft.com/office/drawing/2014/main" id="{277838F1-7D6F-3D9C-11E6-EBBAD1919E59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7" name="Tekstfelt 38">
            <a:extLst>
              <a:ext uri="{FF2B5EF4-FFF2-40B4-BE49-F238E27FC236}">
                <a16:creationId xmlns:a16="http://schemas.microsoft.com/office/drawing/2014/main" id="{0B0857F4-0ADC-8522-443C-75B81BA5A43A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8" name="Tekstfelt 39">
            <a:extLst>
              <a:ext uri="{FF2B5EF4-FFF2-40B4-BE49-F238E27FC236}">
                <a16:creationId xmlns:a16="http://schemas.microsoft.com/office/drawing/2014/main" id="{7A87D4AD-F49F-4451-2770-3D4F30FD0E26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9" name="Tekstfelt 40">
            <a:extLst>
              <a:ext uri="{FF2B5EF4-FFF2-40B4-BE49-F238E27FC236}">
                <a16:creationId xmlns:a16="http://schemas.microsoft.com/office/drawing/2014/main" id="{E92DB01E-CFDD-8A85-327C-7ADBF47AC873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0" name="Tekstfelt 41">
            <a:extLst>
              <a:ext uri="{FF2B5EF4-FFF2-40B4-BE49-F238E27FC236}">
                <a16:creationId xmlns:a16="http://schemas.microsoft.com/office/drawing/2014/main" id="{40AED4C8-9BCD-4844-6B87-735FDE6D618B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1" name="Tekstfelt 54">
            <a:extLst>
              <a:ext uri="{FF2B5EF4-FFF2-40B4-BE49-F238E27FC236}">
                <a16:creationId xmlns:a16="http://schemas.microsoft.com/office/drawing/2014/main" id="{5C81C6F6-17B0-B8F1-6E67-748628576351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42" name="Tekstfelt 55">
            <a:extLst>
              <a:ext uri="{FF2B5EF4-FFF2-40B4-BE49-F238E27FC236}">
                <a16:creationId xmlns:a16="http://schemas.microsoft.com/office/drawing/2014/main" id="{A9CA9C66-D140-14DF-EAFF-99E48258FFD4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43" name="Tekstfelt 56">
            <a:extLst>
              <a:ext uri="{FF2B5EF4-FFF2-40B4-BE49-F238E27FC236}">
                <a16:creationId xmlns:a16="http://schemas.microsoft.com/office/drawing/2014/main" id="{5DD1DE86-0DDD-0481-294F-D474631CF5F9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44" name="Tekstfelt 57">
            <a:extLst>
              <a:ext uri="{FF2B5EF4-FFF2-40B4-BE49-F238E27FC236}">
                <a16:creationId xmlns:a16="http://schemas.microsoft.com/office/drawing/2014/main" id="{4830EE26-5DF1-083D-85ED-56014113D4C2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45" name="Tekstfelt 63">
            <a:extLst>
              <a:ext uri="{FF2B5EF4-FFF2-40B4-BE49-F238E27FC236}">
                <a16:creationId xmlns:a16="http://schemas.microsoft.com/office/drawing/2014/main" id="{2FA05B09-4131-82F4-E8A4-839C4D2ADEA2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46" name="Tekstfelt 64">
            <a:extLst>
              <a:ext uri="{FF2B5EF4-FFF2-40B4-BE49-F238E27FC236}">
                <a16:creationId xmlns:a16="http://schemas.microsoft.com/office/drawing/2014/main" id="{9F950238-B007-ADF5-FD71-2A043606C057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47" name="Tekstfelt 65">
            <a:extLst>
              <a:ext uri="{FF2B5EF4-FFF2-40B4-BE49-F238E27FC236}">
                <a16:creationId xmlns:a16="http://schemas.microsoft.com/office/drawing/2014/main" id="{1C6B836C-2B1B-1F9A-7C07-287C69577F76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48" name="Tekstfelt 66">
            <a:extLst>
              <a:ext uri="{FF2B5EF4-FFF2-40B4-BE49-F238E27FC236}">
                <a16:creationId xmlns:a16="http://schemas.microsoft.com/office/drawing/2014/main" id="{46FDFDF8-9459-E34F-5C17-4E23710F81EF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49" name="Tekstfelt 68">
            <a:extLst>
              <a:ext uri="{FF2B5EF4-FFF2-40B4-BE49-F238E27FC236}">
                <a16:creationId xmlns:a16="http://schemas.microsoft.com/office/drawing/2014/main" id="{6986F27C-60F0-DF71-9D8F-742BCC21ACD1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50" name="Tekstfelt 69">
            <a:extLst>
              <a:ext uri="{FF2B5EF4-FFF2-40B4-BE49-F238E27FC236}">
                <a16:creationId xmlns:a16="http://schemas.microsoft.com/office/drawing/2014/main" id="{A283E1B8-F109-E111-EFA6-A7A237E09E75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51" name="Tekstfelt 70">
            <a:extLst>
              <a:ext uri="{FF2B5EF4-FFF2-40B4-BE49-F238E27FC236}">
                <a16:creationId xmlns:a16="http://schemas.microsoft.com/office/drawing/2014/main" id="{4B670377-01CC-31C3-2367-CD29866870CD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52" name="Tekstfelt 71">
            <a:extLst>
              <a:ext uri="{FF2B5EF4-FFF2-40B4-BE49-F238E27FC236}">
                <a16:creationId xmlns:a16="http://schemas.microsoft.com/office/drawing/2014/main" id="{C726C6D8-9228-0D70-CDA7-F4B5E2894E23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53" name="Tekstfelt 74">
            <a:extLst>
              <a:ext uri="{FF2B5EF4-FFF2-40B4-BE49-F238E27FC236}">
                <a16:creationId xmlns:a16="http://schemas.microsoft.com/office/drawing/2014/main" id="{CB151044-D7E4-7FBF-3970-9495E67BBE7A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54" name="Tekstfelt 75">
            <a:extLst>
              <a:ext uri="{FF2B5EF4-FFF2-40B4-BE49-F238E27FC236}">
                <a16:creationId xmlns:a16="http://schemas.microsoft.com/office/drawing/2014/main" id="{BF0FDCFF-0BA5-BAEE-B611-85D0DD2D5AE6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55" name="Tekstfelt 76">
            <a:extLst>
              <a:ext uri="{FF2B5EF4-FFF2-40B4-BE49-F238E27FC236}">
                <a16:creationId xmlns:a16="http://schemas.microsoft.com/office/drawing/2014/main" id="{A14C9993-EAD9-65F7-66F0-58A247B5FCE6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56" name="Tekstfelt 77">
            <a:extLst>
              <a:ext uri="{FF2B5EF4-FFF2-40B4-BE49-F238E27FC236}">
                <a16:creationId xmlns:a16="http://schemas.microsoft.com/office/drawing/2014/main" id="{16FC001A-EC39-6960-EFC7-F0D2577E57EC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57" name="Tekstfelt 79">
            <a:extLst>
              <a:ext uri="{FF2B5EF4-FFF2-40B4-BE49-F238E27FC236}">
                <a16:creationId xmlns:a16="http://schemas.microsoft.com/office/drawing/2014/main" id="{8F81FC61-DC69-9648-3FB9-B8ABCD9D03AE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58" name="Tekstfelt 80">
            <a:extLst>
              <a:ext uri="{FF2B5EF4-FFF2-40B4-BE49-F238E27FC236}">
                <a16:creationId xmlns:a16="http://schemas.microsoft.com/office/drawing/2014/main" id="{AECFB690-21F2-F586-D45A-24C959B0769C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59" name="Tekstfelt 81">
            <a:extLst>
              <a:ext uri="{FF2B5EF4-FFF2-40B4-BE49-F238E27FC236}">
                <a16:creationId xmlns:a16="http://schemas.microsoft.com/office/drawing/2014/main" id="{2113D1D6-39A4-5B2A-9AD1-A4C19F697B4B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60" name="Tekstfelt 82">
            <a:extLst>
              <a:ext uri="{FF2B5EF4-FFF2-40B4-BE49-F238E27FC236}">
                <a16:creationId xmlns:a16="http://schemas.microsoft.com/office/drawing/2014/main" id="{B03CAA4B-0B39-B52F-C18C-ADDB1C991EF7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61" name="Tekstfelt 84">
            <a:extLst>
              <a:ext uri="{FF2B5EF4-FFF2-40B4-BE49-F238E27FC236}">
                <a16:creationId xmlns:a16="http://schemas.microsoft.com/office/drawing/2014/main" id="{976614F5-C6E8-632F-DFF8-E4B6B848B93F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62" name="Tekstfelt 85">
            <a:extLst>
              <a:ext uri="{FF2B5EF4-FFF2-40B4-BE49-F238E27FC236}">
                <a16:creationId xmlns:a16="http://schemas.microsoft.com/office/drawing/2014/main" id="{F08FDAA6-01A2-B6F6-7B14-0B26D98492EE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63" name="Tekstfelt 86">
            <a:extLst>
              <a:ext uri="{FF2B5EF4-FFF2-40B4-BE49-F238E27FC236}">
                <a16:creationId xmlns:a16="http://schemas.microsoft.com/office/drawing/2014/main" id="{282ED897-7326-7D98-12D7-20729BBBC3E3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64" name="Tekstfelt 87">
            <a:extLst>
              <a:ext uri="{FF2B5EF4-FFF2-40B4-BE49-F238E27FC236}">
                <a16:creationId xmlns:a16="http://schemas.microsoft.com/office/drawing/2014/main" id="{884C5214-7447-FF51-1B82-EC79EA09D4EC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65" name="Tekstfelt 47">
            <a:extLst>
              <a:ext uri="{FF2B5EF4-FFF2-40B4-BE49-F238E27FC236}">
                <a16:creationId xmlns:a16="http://schemas.microsoft.com/office/drawing/2014/main" id="{F2F6DDAC-5C55-FFFB-2A8E-F399F4A52931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66" name="Tekstfelt 62">
            <a:extLst>
              <a:ext uri="{FF2B5EF4-FFF2-40B4-BE49-F238E27FC236}">
                <a16:creationId xmlns:a16="http://schemas.microsoft.com/office/drawing/2014/main" id="{683E3C90-1886-5B1D-2757-757FF7EBE663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67" name="Tekstfelt 67">
            <a:extLst>
              <a:ext uri="{FF2B5EF4-FFF2-40B4-BE49-F238E27FC236}">
                <a16:creationId xmlns:a16="http://schemas.microsoft.com/office/drawing/2014/main" id="{452D7A98-483E-64E1-D579-B345C2A51F86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68" name="Tekstfelt 73">
            <a:extLst>
              <a:ext uri="{FF2B5EF4-FFF2-40B4-BE49-F238E27FC236}">
                <a16:creationId xmlns:a16="http://schemas.microsoft.com/office/drawing/2014/main" id="{C4FD1D9D-57D1-2860-9B9D-D588B614D2F7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69" name="Tekstfelt 78">
            <a:extLst>
              <a:ext uri="{FF2B5EF4-FFF2-40B4-BE49-F238E27FC236}">
                <a16:creationId xmlns:a16="http://schemas.microsoft.com/office/drawing/2014/main" id="{8E3C199F-370E-AFDB-E9AA-04A568276DC2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70" name="Tekstfelt 83">
            <a:extLst>
              <a:ext uri="{FF2B5EF4-FFF2-40B4-BE49-F238E27FC236}">
                <a16:creationId xmlns:a16="http://schemas.microsoft.com/office/drawing/2014/main" id="{63298650-E3D2-40FB-4139-FC834289D3BD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71" name="Tekstfelt 88">
            <a:extLst>
              <a:ext uri="{FF2B5EF4-FFF2-40B4-BE49-F238E27FC236}">
                <a16:creationId xmlns:a16="http://schemas.microsoft.com/office/drawing/2014/main" id="{65A24CAB-3AF0-8647-17ED-346F2B91BB44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72" name="Tekstfelt 89">
            <a:extLst>
              <a:ext uri="{FF2B5EF4-FFF2-40B4-BE49-F238E27FC236}">
                <a16:creationId xmlns:a16="http://schemas.microsoft.com/office/drawing/2014/main" id="{FCF27218-6DF1-F06D-BFB6-89F9A113B652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73" name="Tekstfelt 90">
            <a:extLst>
              <a:ext uri="{FF2B5EF4-FFF2-40B4-BE49-F238E27FC236}">
                <a16:creationId xmlns:a16="http://schemas.microsoft.com/office/drawing/2014/main" id="{F518A204-1061-4C4A-5C65-A5BC822612FF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74" name="Tekstfelt 91">
            <a:extLst>
              <a:ext uri="{FF2B5EF4-FFF2-40B4-BE49-F238E27FC236}">
                <a16:creationId xmlns:a16="http://schemas.microsoft.com/office/drawing/2014/main" id="{57FF8C8C-94EC-903E-9E47-6D114F8AF201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75" name="Tekstfelt 92">
            <a:extLst>
              <a:ext uri="{FF2B5EF4-FFF2-40B4-BE49-F238E27FC236}">
                <a16:creationId xmlns:a16="http://schemas.microsoft.com/office/drawing/2014/main" id="{F9079405-E3B9-08C1-F8A9-A20E6800C609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76" name="Billede 3">
            <a:extLst>
              <a:ext uri="{FF2B5EF4-FFF2-40B4-BE49-F238E27FC236}">
                <a16:creationId xmlns:a16="http://schemas.microsoft.com/office/drawing/2014/main" id="{A847B495-7DED-865E-984B-A6F1B6175B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3514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 page 3">
    <p:bg>
      <p:bgPr>
        <a:solidFill>
          <a:srgbClr val="FBBF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8C97D52-63A9-B14D-B6FB-78DE4483B0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81954" y="4431487"/>
            <a:ext cx="7428089" cy="5699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600" b="0" i="0" spc="120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DK"/>
              <a:t>Subtitle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9B38B3-C761-3046-97A3-558D94DF3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2743" y="2927350"/>
            <a:ext cx="9126513" cy="646331"/>
          </a:xfrm>
          <a:prstGeom prst="rect">
            <a:avLst/>
          </a:prstGeom>
        </p:spPr>
        <p:txBody>
          <a:bodyPr/>
          <a:lstStyle>
            <a:lvl1pPr algn="ctr">
              <a:defRPr sz="4000" b="1" i="0">
                <a:latin typeface="+mj-lt"/>
                <a:cs typeface="Trebuchet MS" panose="020B0603020202020204" pitchFamily="34" charset="0"/>
              </a:defRPr>
            </a:lvl1pPr>
          </a:lstStyle>
          <a:p>
            <a:r>
              <a:rPr lang="en-US"/>
              <a:t>Add a meaningful title </a:t>
            </a:r>
          </a:p>
        </p:txBody>
      </p:sp>
      <p:pic>
        <p:nvPicPr>
          <p:cNvPr id="2" name="Picture 9">
            <a:extLst>
              <a:ext uri="{FF2B5EF4-FFF2-40B4-BE49-F238E27FC236}">
                <a16:creationId xmlns:a16="http://schemas.microsoft.com/office/drawing/2014/main" id="{F655DC6C-27AF-A51E-2D28-CC4D050FEB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43B23EDC-D5A7-1E66-CB93-CBBCA55F2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26" name="Rektangel 35">
            <a:extLst>
              <a:ext uri="{FF2B5EF4-FFF2-40B4-BE49-F238E27FC236}">
                <a16:creationId xmlns:a16="http://schemas.microsoft.com/office/drawing/2014/main" id="{C8EE0149-4B45-BA93-08FC-F320767C813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27" name="Rektangel 36">
            <a:extLst>
              <a:ext uri="{FF2B5EF4-FFF2-40B4-BE49-F238E27FC236}">
                <a16:creationId xmlns:a16="http://schemas.microsoft.com/office/drawing/2014/main" id="{88D4E3D4-A6FB-F512-8C2D-7B1CEC357D58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28" name="Tekstfelt 37">
            <a:extLst>
              <a:ext uri="{FF2B5EF4-FFF2-40B4-BE49-F238E27FC236}">
                <a16:creationId xmlns:a16="http://schemas.microsoft.com/office/drawing/2014/main" id="{11FABC43-ED1C-ACA3-CF6A-A9957814535E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9" name="Tekstfelt 38">
            <a:extLst>
              <a:ext uri="{FF2B5EF4-FFF2-40B4-BE49-F238E27FC236}">
                <a16:creationId xmlns:a16="http://schemas.microsoft.com/office/drawing/2014/main" id="{3F2864DC-BD91-1E69-2F2E-3DFA1B506649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0" name="Tekstfelt 39">
            <a:extLst>
              <a:ext uri="{FF2B5EF4-FFF2-40B4-BE49-F238E27FC236}">
                <a16:creationId xmlns:a16="http://schemas.microsoft.com/office/drawing/2014/main" id="{3A29929A-BAB0-9831-B1FF-DEDA64E187D0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1" name="Tekstfelt 40">
            <a:extLst>
              <a:ext uri="{FF2B5EF4-FFF2-40B4-BE49-F238E27FC236}">
                <a16:creationId xmlns:a16="http://schemas.microsoft.com/office/drawing/2014/main" id="{D6DC9462-1BDF-DB36-6199-9232F01946D1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2" name="Tekstfelt 41">
            <a:extLst>
              <a:ext uri="{FF2B5EF4-FFF2-40B4-BE49-F238E27FC236}">
                <a16:creationId xmlns:a16="http://schemas.microsoft.com/office/drawing/2014/main" id="{6BC9490E-223C-F834-7ABD-8E74267154FE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3" name="Tekstfelt 54">
            <a:extLst>
              <a:ext uri="{FF2B5EF4-FFF2-40B4-BE49-F238E27FC236}">
                <a16:creationId xmlns:a16="http://schemas.microsoft.com/office/drawing/2014/main" id="{DF62AC56-4550-2B7D-0541-D002B2B646CC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34" name="Tekstfelt 55">
            <a:extLst>
              <a:ext uri="{FF2B5EF4-FFF2-40B4-BE49-F238E27FC236}">
                <a16:creationId xmlns:a16="http://schemas.microsoft.com/office/drawing/2014/main" id="{8494FEF9-41C2-F602-254E-D0F3B8F633DC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35" name="Tekstfelt 56">
            <a:extLst>
              <a:ext uri="{FF2B5EF4-FFF2-40B4-BE49-F238E27FC236}">
                <a16:creationId xmlns:a16="http://schemas.microsoft.com/office/drawing/2014/main" id="{1DCF8637-2B52-B9E6-F56D-377BFA5923D0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36" name="Tekstfelt 57">
            <a:extLst>
              <a:ext uri="{FF2B5EF4-FFF2-40B4-BE49-F238E27FC236}">
                <a16:creationId xmlns:a16="http://schemas.microsoft.com/office/drawing/2014/main" id="{4F06892E-B255-634B-B6C5-B895CAA21BD7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37" name="Tekstfelt 63">
            <a:extLst>
              <a:ext uri="{FF2B5EF4-FFF2-40B4-BE49-F238E27FC236}">
                <a16:creationId xmlns:a16="http://schemas.microsoft.com/office/drawing/2014/main" id="{77335946-71C1-4A88-A0CD-15810482C00E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38" name="Tekstfelt 64">
            <a:extLst>
              <a:ext uri="{FF2B5EF4-FFF2-40B4-BE49-F238E27FC236}">
                <a16:creationId xmlns:a16="http://schemas.microsoft.com/office/drawing/2014/main" id="{CCCB7C13-B348-25B1-C431-82FFD59F3972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39" name="Tekstfelt 65">
            <a:extLst>
              <a:ext uri="{FF2B5EF4-FFF2-40B4-BE49-F238E27FC236}">
                <a16:creationId xmlns:a16="http://schemas.microsoft.com/office/drawing/2014/main" id="{E9EB5DBF-B740-38A3-2D2A-E4E4C73C00DC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40" name="Tekstfelt 66">
            <a:extLst>
              <a:ext uri="{FF2B5EF4-FFF2-40B4-BE49-F238E27FC236}">
                <a16:creationId xmlns:a16="http://schemas.microsoft.com/office/drawing/2014/main" id="{FF021771-5B1B-4A5D-62C4-B666FDE29FA7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41" name="Tekstfelt 68">
            <a:extLst>
              <a:ext uri="{FF2B5EF4-FFF2-40B4-BE49-F238E27FC236}">
                <a16:creationId xmlns:a16="http://schemas.microsoft.com/office/drawing/2014/main" id="{F4D05A6F-BB11-FE6D-CFEE-D5EC489EA8D9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42" name="Tekstfelt 69">
            <a:extLst>
              <a:ext uri="{FF2B5EF4-FFF2-40B4-BE49-F238E27FC236}">
                <a16:creationId xmlns:a16="http://schemas.microsoft.com/office/drawing/2014/main" id="{C3643100-D6E3-C8DB-B414-3FE9FE2F11DD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43" name="Tekstfelt 70">
            <a:extLst>
              <a:ext uri="{FF2B5EF4-FFF2-40B4-BE49-F238E27FC236}">
                <a16:creationId xmlns:a16="http://schemas.microsoft.com/office/drawing/2014/main" id="{A1610BB7-3C43-F292-AF34-4A85B73C3946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44" name="Tekstfelt 71">
            <a:extLst>
              <a:ext uri="{FF2B5EF4-FFF2-40B4-BE49-F238E27FC236}">
                <a16:creationId xmlns:a16="http://schemas.microsoft.com/office/drawing/2014/main" id="{AE2C297C-C057-BC59-8C34-1D0233C175A4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45" name="Tekstfelt 74">
            <a:extLst>
              <a:ext uri="{FF2B5EF4-FFF2-40B4-BE49-F238E27FC236}">
                <a16:creationId xmlns:a16="http://schemas.microsoft.com/office/drawing/2014/main" id="{E65B5C46-D414-BEBC-650D-7A2188FEF043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46" name="Tekstfelt 75">
            <a:extLst>
              <a:ext uri="{FF2B5EF4-FFF2-40B4-BE49-F238E27FC236}">
                <a16:creationId xmlns:a16="http://schemas.microsoft.com/office/drawing/2014/main" id="{911BF94C-EC13-39BD-8BF9-DAA134FCCF80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47" name="Tekstfelt 76">
            <a:extLst>
              <a:ext uri="{FF2B5EF4-FFF2-40B4-BE49-F238E27FC236}">
                <a16:creationId xmlns:a16="http://schemas.microsoft.com/office/drawing/2014/main" id="{33FC5120-EAA6-5198-F2B1-FA8B10A3D6B5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48" name="Tekstfelt 77">
            <a:extLst>
              <a:ext uri="{FF2B5EF4-FFF2-40B4-BE49-F238E27FC236}">
                <a16:creationId xmlns:a16="http://schemas.microsoft.com/office/drawing/2014/main" id="{06020FDF-F885-1F1E-A2B9-C6E5E77B74A6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49" name="Tekstfelt 79">
            <a:extLst>
              <a:ext uri="{FF2B5EF4-FFF2-40B4-BE49-F238E27FC236}">
                <a16:creationId xmlns:a16="http://schemas.microsoft.com/office/drawing/2014/main" id="{8E69E64F-458F-B4AA-7E00-5DD28D111842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50" name="Tekstfelt 80">
            <a:extLst>
              <a:ext uri="{FF2B5EF4-FFF2-40B4-BE49-F238E27FC236}">
                <a16:creationId xmlns:a16="http://schemas.microsoft.com/office/drawing/2014/main" id="{C7FFE8E5-9895-0C24-8931-C1C5090C3455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51" name="Tekstfelt 81">
            <a:extLst>
              <a:ext uri="{FF2B5EF4-FFF2-40B4-BE49-F238E27FC236}">
                <a16:creationId xmlns:a16="http://schemas.microsoft.com/office/drawing/2014/main" id="{CDA6C69F-26E9-A5ED-EC61-B8886FF272F1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52" name="Tekstfelt 82">
            <a:extLst>
              <a:ext uri="{FF2B5EF4-FFF2-40B4-BE49-F238E27FC236}">
                <a16:creationId xmlns:a16="http://schemas.microsoft.com/office/drawing/2014/main" id="{6E91E081-05E9-B492-9DDF-FB111D051194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53" name="Tekstfelt 84">
            <a:extLst>
              <a:ext uri="{FF2B5EF4-FFF2-40B4-BE49-F238E27FC236}">
                <a16:creationId xmlns:a16="http://schemas.microsoft.com/office/drawing/2014/main" id="{B9B54C14-7970-D73F-09A2-FE90B4D6B341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54" name="Tekstfelt 85">
            <a:extLst>
              <a:ext uri="{FF2B5EF4-FFF2-40B4-BE49-F238E27FC236}">
                <a16:creationId xmlns:a16="http://schemas.microsoft.com/office/drawing/2014/main" id="{765C727E-2ED7-9288-C9E3-1CF51559AA23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55" name="Tekstfelt 86">
            <a:extLst>
              <a:ext uri="{FF2B5EF4-FFF2-40B4-BE49-F238E27FC236}">
                <a16:creationId xmlns:a16="http://schemas.microsoft.com/office/drawing/2014/main" id="{3E0178C9-AC28-BB19-C566-1803DF2A5649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56" name="Tekstfelt 87">
            <a:extLst>
              <a:ext uri="{FF2B5EF4-FFF2-40B4-BE49-F238E27FC236}">
                <a16:creationId xmlns:a16="http://schemas.microsoft.com/office/drawing/2014/main" id="{5FE22E5D-A90B-7158-3EAA-AA757688038F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57" name="Tekstfelt 47">
            <a:extLst>
              <a:ext uri="{FF2B5EF4-FFF2-40B4-BE49-F238E27FC236}">
                <a16:creationId xmlns:a16="http://schemas.microsoft.com/office/drawing/2014/main" id="{73FCCDB7-D570-F06E-0A01-475FAD6FBBE2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58" name="Tekstfelt 62">
            <a:extLst>
              <a:ext uri="{FF2B5EF4-FFF2-40B4-BE49-F238E27FC236}">
                <a16:creationId xmlns:a16="http://schemas.microsoft.com/office/drawing/2014/main" id="{FEBA3695-BDFB-7D4F-54EB-5EF08FFB9846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59" name="Tekstfelt 67">
            <a:extLst>
              <a:ext uri="{FF2B5EF4-FFF2-40B4-BE49-F238E27FC236}">
                <a16:creationId xmlns:a16="http://schemas.microsoft.com/office/drawing/2014/main" id="{613F6D78-0C4B-5FB4-A62A-9DBE3E9A849D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60" name="Tekstfelt 73">
            <a:extLst>
              <a:ext uri="{FF2B5EF4-FFF2-40B4-BE49-F238E27FC236}">
                <a16:creationId xmlns:a16="http://schemas.microsoft.com/office/drawing/2014/main" id="{5B8846C3-D0EC-0192-28AC-6638ECA6C038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61" name="Tekstfelt 78">
            <a:extLst>
              <a:ext uri="{FF2B5EF4-FFF2-40B4-BE49-F238E27FC236}">
                <a16:creationId xmlns:a16="http://schemas.microsoft.com/office/drawing/2014/main" id="{AF043ACA-F059-2588-2676-89810DE55EC3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62" name="Tekstfelt 83">
            <a:extLst>
              <a:ext uri="{FF2B5EF4-FFF2-40B4-BE49-F238E27FC236}">
                <a16:creationId xmlns:a16="http://schemas.microsoft.com/office/drawing/2014/main" id="{F812A5AF-FEC1-C13D-5832-CCD9D3ECCA0E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63" name="Tekstfelt 88">
            <a:extLst>
              <a:ext uri="{FF2B5EF4-FFF2-40B4-BE49-F238E27FC236}">
                <a16:creationId xmlns:a16="http://schemas.microsoft.com/office/drawing/2014/main" id="{0D7CA583-7BF0-F7B5-0173-FD4CC06E3B73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64" name="Tekstfelt 89">
            <a:extLst>
              <a:ext uri="{FF2B5EF4-FFF2-40B4-BE49-F238E27FC236}">
                <a16:creationId xmlns:a16="http://schemas.microsoft.com/office/drawing/2014/main" id="{9CAB3127-B666-80A3-4B5C-0CC53A0FA5BC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65" name="Tekstfelt 90">
            <a:extLst>
              <a:ext uri="{FF2B5EF4-FFF2-40B4-BE49-F238E27FC236}">
                <a16:creationId xmlns:a16="http://schemas.microsoft.com/office/drawing/2014/main" id="{B8D01530-8AEB-4659-556C-AFBC184F0C35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66" name="Tekstfelt 91">
            <a:extLst>
              <a:ext uri="{FF2B5EF4-FFF2-40B4-BE49-F238E27FC236}">
                <a16:creationId xmlns:a16="http://schemas.microsoft.com/office/drawing/2014/main" id="{8A808068-FD58-695A-3CF7-99A50E65FD00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67" name="Tekstfelt 92">
            <a:extLst>
              <a:ext uri="{FF2B5EF4-FFF2-40B4-BE49-F238E27FC236}">
                <a16:creationId xmlns:a16="http://schemas.microsoft.com/office/drawing/2014/main" id="{F7DAFFDD-C8B6-627A-C376-6E5D899D20F5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68" name="Billede 3">
            <a:extLst>
              <a:ext uri="{FF2B5EF4-FFF2-40B4-BE49-F238E27FC236}">
                <a16:creationId xmlns:a16="http://schemas.microsoft.com/office/drawing/2014/main" id="{33DC5B41-71BE-2B4D-B5AC-3AF198EF2C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2924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With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A23308-96DD-40F9-80E7-505B5F96C8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A23308-96DD-40F9-80E7-505B5F96C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4">
            <a:extLst>
              <a:ext uri="{FF2B5EF4-FFF2-40B4-BE49-F238E27FC236}">
                <a16:creationId xmlns:a16="http://schemas.microsoft.com/office/drawing/2014/main" id="{63129DE9-8370-FF41-A625-F39694C08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9600" y="190801"/>
            <a:ext cx="10665638" cy="38721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sp>
        <p:nvSpPr>
          <p:cNvPr id="7" name="Pladsholder til tekst 13">
            <a:extLst>
              <a:ext uri="{FF2B5EF4-FFF2-40B4-BE49-F238E27FC236}">
                <a16:creationId xmlns:a16="http://schemas.microsoft.com/office/drawing/2014/main" id="{6B781E3E-57FA-794A-6930-9EE11D2C77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600" y="6382643"/>
            <a:ext cx="4114800" cy="19007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Notes: Add disclaimers for people with good eyes   </a:t>
            </a:r>
            <a:endParaRPr lang="da-DK"/>
          </a:p>
          <a:p>
            <a:pPr lvl="0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4134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A4A3A4"/>
          </p15:clr>
        </p15:guide>
        <p15:guide id="2" pos="192">
          <p15:clr>
            <a:srgbClr val="A4A3A4"/>
          </p15:clr>
        </p15:guide>
        <p15:guide id="3" pos="7488">
          <p15:clr>
            <a:srgbClr val="A4A3A4"/>
          </p15:clr>
        </p15:guide>
        <p15:guide id="5" orient="horz" pos="624">
          <p15:clr>
            <a:srgbClr val="A4A3A4"/>
          </p15:clr>
        </p15:guide>
        <p15:guide id="6" pos="3840">
          <p15:clr>
            <a:srgbClr val="A4A3A4"/>
          </p15:clr>
        </p15:guide>
        <p15:guide id="7" orient="horz" pos="432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With Title and Sub-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A23308-96DD-40F9-80E7-505B5F96C8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A23308-96DD-40F9-80E7-505B5F96C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4">
            <a:extLst>
              <a:ext uri="{FF2B5EF4-FFF2-40B4-BE49-F238E27FC236}">
                <a16:creationId xmlns:a16="http://schemas.microsoft.com/office/drawing/2014/main" id="{63129DE9-8370-FF41-A625-F39694C08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9600" y="190801"/>
            <a:ext cx="10665638" cy="38721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sp>
        <p:nvSpPr>
          <p:cNvPr id="11" name="Pladsholder til tekst 13">
            <a:extLst>
              <a:ext uri="{FF2B5EF4-FFF2-40B4-BE49-F238E27FC236}">
                <a16:creationId xmlns:a16="http://schemas.microsoft.com/office/drawing/2014/main" id="{4B7AEE57-671D-4742-9295-949514075A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600" y="6382643"/>
            <a:ext cx="4114800" cy="19007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Notes: Add disclaimers for people with good eyes   </a:t>
            </a:r>
            <a:endParaRPr lang="da-DK"/>
          </a:p>
          <a:p>
            <a:pPr lvl="0"/>
            <a:endParaRPr lang="da-DK"/>
          </a:p>
        </p:txBody>
      </p:sp>
      <p:sp>
        <p:nvSpPr>
          <p:cNvPr id="2" name="Pladsholder til tekst 5">
            <a:extLst>
              <a:ext uri="{FF2B5EF4-FFF2-40B4-BE49-F238E27FC236}">
                <a16:creationId xmlns:a16="http://schemas.microsoft.com/office/drawing/2014/main" id="{5F69E1D3-1297-9EF0-EA06-8628EB888E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9600" y="578011"/>
            <a:ext cx="10665638" cy="3384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>
                <a:latin typeface="Trebuchet MS" panose="020B0703020202090204" pitchFamily="34" charset="0"/>
              </a:rPr>
              <a:t>Add a sub-title if you have more important message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83773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A4A3A4"/>
          </p15:clr>
        </p15:guide>
        <p15:guide id="2" pos="192">
          <p15:clr>
            <a:srgbClr val="A4A3A4"/>
          </p15:clr>
        </p15:guide>
        <p15:guide id="3" pos="7488">
          <p15:clr>
            <a:srgbClr val="A4A3A4"/>
          </p15:clr>
        </p15:guide>
        <p15:guide id="5" orient="horz" pos="624">
          <p15:clr>
            <a:srgbClr val="A4A3A4"/>
          </p15:clr>
        </p15:guide>
        <p15:guide id="6" pos="3840">
          <p15:clr>
            <a:srgbClr val="A4A3A4"/>
          </p15:clr>
        </p15:guide>
        <p15:guide id="7" orient="horz" pos="432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1">
    <p:bg>
      <p:bgPr>
        <a:solidFill>
          <a:schemeClr val="accent1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pic>
        <p:nvPicPr>
          <p:cNvPr id="4" name="Picture 18" descr="Icon&#10;&#10;Description automatically generated">
            <a:extLst>
              <a:ext uri="{FF2B5EF4-FFF2-40B4-BE49-F238E27FC236}">
                <a16:creationId xmlns:a16="http://schemas.microsoft.com/office/drawing/2014/main" id="{B2B6DD32-139D-05B9-5BB3-9ECC50A3B03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749C2F22-9DFB-E557-5857-D0C80FF1D3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83F0E832-61F1-FC5D-E802-A1A19CBFAD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6" name="Rektangel 35">
            <a:extLst>
              <a:ext uri="{FF2B5EF4-FFF2-40B4-BE49-F238E27FC236}">
                <a16:creationId xmlns:a16="http://schemas.microsoft.com/office/drawing/2014/main" id="{C1D0DB98-D1CF-1C80-1989-A01BF8A5E64A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7" name="Rektangel 36">
            <a:extLst>
              <a:ext uri="{FF2B5EF4-FFF2-40B4-BE49-F238E27FC236}">
                <a16:creationId xmlns:a16="http://schemas.microsoft.com/office/drawing/2014/main" id="{768E538D-78D3-E248-E694-7A89AF41A844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0" name="Tekstfelt 37">
            <a:extLst>
              <a:ext uri="{FF2B5EF4-FFF2-40B4-BE49-F238E27FC236}">
                <a16:creationId xmlns:a16="http://schemas.microsoft.com/office/drawing/2014/main" id="{A0E8D2BB-DC23-1199-5952-7EC4BB39020E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1" name="Tekstfelt 38">
            <a:extLst>
              <a:ext uri="{FF2B5EF4-FFF2-40B4-BE49-F238E27FC236}">
                <a16:creationId xmlns:a16="http://schemas.microsoft.com/office/drawing/2014/main" id="{EFE95C10-F5EA-CEB4-93A1-6911FB0DED8E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9">
            <a:extLst>
              <a:ext uri="{FF2B5EF4-FFF2-40B4-BE49-F238E27FC236}">
                <a16:creationId xmlns:a16="http://schemas.microsoft.com/office/drawing/2014/main" id="{F773572C-4EF8-A68F-5861-B4439C7F8EFD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40">
            <a:extLst>
              <a:ext uri="{FF2B5EF4-FFF2-40B4-BE49-F238E27FC236}">
                <a16:creationId xmlns:a16="http://schemas.microsoft.com/office/drawing/2014/main" id="{7CB750FB-FE99-8421-4964-3C5969A8CE10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D653B1FE-A123-CB0F-10E9-AD80181ABF70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7A60771B-C56A-6740-F081-69C6A0CAA2BA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EE63EC72-81D1-0C99-2505-7AA93FF6B6BD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058441C5-1AF6-B89C-B59C-773AA9B638C2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53656ADC-CE95-40BB-B50A-8083C6DDB33C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2B6E9188-A704-7E6D-D4BF-F0189BDA8AB6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38267A02-2DA5-EF8F-8BE0-072A9EF13AB1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2AFF87E3-0718-0A5C-62BE-BBEF16F1B9CB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8C92A0B2-B5CD-C73E-DCF6-901BAE07F7E4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B5B66A70-4432-3C92-50A9-1CD58E7395BF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A1C826E6-8388-BDE8-68ED-2D26852E5944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93004118-545B-2E68-F740-D45D3AE38E29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4ADB6EA2-A80A-77E8-CBA2-E11C56EDF91F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FD6FAA0F-2DE2-B7FF-E44C-497C016F25B8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AB1E06BF-07CF-533D-5B72-775436A43362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773F241B-E86D-035A-BEB9-9D6F530AF276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DA01FB5D-FADB-4915-7061-A8F6BD6DC95C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99A7FDA7-4193-0B78-828F-68CB2989AADD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8DF42B71-7C75-FD88-05E0-9A72185AA183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A225F850-06D0-84E3-7189-39FE30852F8C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37617F98-D15B-4282-FC4B-126646491EC7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3792EF3C-6F25-0234-5332-D0452802B041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ABB47889-FE28-24B7-AFCE-CCFB8486071A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5CD59D07-AB90-3AED-CF3A-4AEC10E21A63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255AA528-3E58-5261-0EB3-86B30E5F3096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F136981A-AABF-0402-B47A-0E86B42790E4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09247E67-3DF5-2F7E-9E11-AAE719E6B42D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C2DFD367-2891-7A15-FDE5-48178DB4E329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E756889D-1B7B-A35E-5C9E-1D6309E0AF4A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84E59D5A-DEEC-34FE-CA42-95502E9A9C84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21DE0E81-182B-EB92-4A50-5FFC0A78A1EB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21CE0569-4777-E1CA-7F85-0953272C09FA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E95FF035-484A-27FE-376C-5AF6B69003BE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38B0779E-8B5B-896E-5489-AF9695AFB313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5E7E39AC-3D92-5DC3-B87E-44E11F23776F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076BD77C-5C85-B3AD-A994-92752F8AC140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45DBC18F-D845-D007-03CE-E8854B03E7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4027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pic>
        <p:nvPicPr>
          <p:cNvPr id="4" name="Picture 18" descr="Icon&#10;&#10;Description automatically generated">
            <a:extLst>
              <a:ext uri="{FF2B5EF4-FFF2-40B4-BE49-F238E27FC236}">
                <a16:creationId xmlns:a16="http://schemas.microsoft.com/office/drawing/2014/main" id="{B2B6DD32-139D-05B9-5BB3-9ECC50A3B03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6771DDD4-4FC7-88C1-C247-1A3E71E4D8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7F98730F-AA81-C138-7720-480970E8D7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6" name="Rektangel 35">
            <a:extLst>
              <a:ext uri="{FF2B5EF4-FFF2-40B4-BE49-F238E27FC236}">
                <a16:creationId xmlns:a16="http://schemas.microsoft.com/office/drawing/2014/main" id="{4EEEB171-B6A6-0D8D-A3D3-201FD75B0B8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7" name="Rektangel 36">
            <a:extLst>
              <a:ext uri="{FF2B5EF4-FFF2-40B4-BE49-F238E27FC236}">
                <a16:creationId xmlns:a16="http://schemas.microsoft.com/office/drawing/2014/main" id="{EDF415F6-4578-E9E4-CB8E-FF4D53E3BAF3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0" name="Tekstfelt 37">
            <a:extLst>
              <a:ext uri="{FF2B5EF4-FFF2-40B4-BE49-F238E27FC236}">
                <a16:creationId xmlns:a16="http://schemas.microsoft.com/office/drawing/2014/main" id="{94031AAF-2631-3FC5-930E-163781D56F50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1" name="Tekstfelt 38">
            <a:extLst>
              <a:ext uri="{FF2B5EF4-FFF2-40B4-BE49-F238E27FC236}">
                <a16:creationId xmlns:a16="http://schemas.microsoft.com/office/drawing/2014/main" id="{DAF75491-88A2-451D-F375-E53938DEA34C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9">
            <a:extLst>
              <a:ext uri="{FF2B5EF4-FFF2-40B4-BE49-F238E27FC236}">
                <a16:creationId xmlns:a16="http://schemas.microsoft.com/office/drawing/2014/main" id="{8FE79B71-0B37-94F2-C9BE-0EA528BA39E3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40">
            <a:extLst>
              <a:ext uri="{FF2B5EF4-FFF2-40B4-BE49-F238E27FC236}">
                <a16:creationId xmlns:a16="http://schemas.microsoft.com/office/drawing/2014/main" id="{566AD076-2B54-83A0-2FC8-D0CA10C3928F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BFD1A183-205D-7350-05E0-C958071F7B41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39FEEEE0-B5AB-EB4A-4221-37E06A3DA70E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BD7DD3EC-737A-DE0B-6F2C-9EFABE9B57B4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37B25955-CDBC-C2CB-B87F-AB9D544F78AB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E8FC4DD5-7009-036B-6C1F-B8BB47A5AECB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68711C2D-29C8-3869-BDC7-A63107AD4346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48BDE2BA-FD46-2711-A6B8-B2CA45E34FAC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B296F0E8-D3F8-53F8-077A-04FEE7146F06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D15B9BE5-DAC4-1886-2727-DECC3DCEAA93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26EB0689-934E-2E39-4452-E83440D90D0B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C60836E7-E6BC-C97A-5475-259F6D82E669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23E1DB70-A89F-F05F-DC08-96C97E5A7F5E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41324D1B-49EB-62A7-2AD1-BA86FA293035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AED9DB54-0AFF-7EFB-27BF-F8B18FC0E819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96144886-0683-1871-E449-E1460D8624FB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9799147A-A07A-7D75-0C5C-5D5C9116204D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5962B3D8-097B-24FD-24F0-D9844C0A38DF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7AC5E8EF-DDFF-0E37-9914-6046CFD2C4C3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4A76607B-7101-B730-E19A-1B249795D0D0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484D617D-8908-2C10-4880-9E5EEB68E634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6ED516E4-635D-CF35-70EC-C8EE0B4D16D4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4E77DF82-8B1F-80A3-54A5-8319C6C2BB88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2F1D9B4B-ECF3-186E-B404-0BCC51323EF1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9EDBCEC3-FE58-16FB-CFD9-193F7C559F6E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EBF19690-F84A-F471-C68F-13736EF81FB0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5184B1D3-16AE-1D35-0C44-D717E432C32D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B03C23BA-7A86-27C8-27D7-C53E4188A989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1BD31CC6-6455-5103-6A1D-E28D13496DD8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A9BE582A-C072-8705-416C-EE2BCF27CAE7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3DD15348-F92D-3DCF-2A57-32150003C8F3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7D42D78A-EF05-79E4-15CC-CE076666142A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A5ECA3F6-95D5-6F39-1E39-BE0FE6096399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09A9EC71-B329-6A47-706A-BEA2080F2C9E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910A47D5-0115-0F21-9207-E9B3A80280A5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694A0E11-9616-F800-8F76-0BC78382E3A9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C125A3F4-1308-4BA7-A691-D5817BDC0B0C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0DF83249-5ED2-C1EF-0AAE-BE4EE988DC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0084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pic>
        <p:nvPicPr>
          <p:cNvPr id="4" name="Picture 18" descr="Icon&#10;&#10;Description automatically generated">
            <a:extLst>
              <a:ext uri="{FF2B5EF4-FFF2-40B4-BE49-F238E27FC236}">
                <a16:creationId xmlns:a16="http://schemas.microsoft.com/office/drawing/2014/main" id="{B2B6DD32-139D-05B9-5BB3-9ECC50A3B03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20592019-E45D-8FF4-6236-2221B5DF1A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0633A428-17B3-DEF0-49D7-B2198F03A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6" name="Rektangel 35">
            <a:extLst>
              <a:ext uri="{FF2B5EF4-FFF2-40B4-BE49-F238E27FC236}">
                <a16:creationId xmlns:a16="http://schemas.microsoft.com/office/drawing/2014/main" id="{3E1CE6D2-0D4A-662E-E33D-0219847DC823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7" name="Rektangel 36">
            <a:extLst>
              <a:ext uri="{FF2B5EF4-FFF2-40B4-BE49-F238E27FC236}">
                <a16:creationId xmlns:a16="http://schemas.microsoft.com/office/drawing/2014/main" id="{EFA51A9E-28FF-A3D3-BEFB-9F2C1859D57D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0" name="Tekstfelt 37">
            <a:extLst>
              <a:ext uri="{FF2B5EF4-FFF2-40B4-BE49-F238E27FC236}">
                <a16:creationId xmlns:a16="http://schemas.microsoft.com/office/drawing/2014/main" id="{0A3EF6FE-F181-B154-0AEF-527611B74958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1" name="Tekstfelt 38">
            <a:extLst>
              <a:ext uri="{FF2B5EF4-FFF2-40B4-BE49-F238E27FC236}">
                <a16:creationId xmlns:a16="http://schemas.microsoft.com/office/drawing/2014/main" id="{871EAFD1-15A8-6E82-28F8-DCE074554BA4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9">
            <a:extLst>
              <a:ext uri="{FF2B5EF4-FFF2-40B4-BE49-F238E27FC236}">
                <a16:creationId xmlns:a16="http://schemas.microsoft.com/office/drawing/2014/main" id="{B9663B88-8D26-FF48-0F87-EAC51FF5E1EA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40">
            <a:extLst>
              <a:ext uri="{FF2B5EF4-FFF2-40B4-BE49-F238E27FC236}">
                <a16:creationId xmlns:a16="http://schemas.microsoft.com/office/drawing/2014/main" id="{87CD174E-5AC6-DA8B-3E8D-FBD10B345314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FB86A85A-2572-4A40-5630-CB9C4A09FA55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A3BC1D6D-FA17-2197-2CD0-3A0819D01CA8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7E584840-05A8-3408-FD40-7BF63FD2AE75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A87C42C9-60D9-6F0A-1B89-7019A1456699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AB4E8FDB-F35B-7965-0D8D-5403B8F087C0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F1B6DCF6-A893-828A-36A1-70694D5776C3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EA109B99-ADEC-5A19-C10E-596AD792D446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C5C0BA2C-F1F9-711F-8023-2E80771AA3A6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1FB81E90-55A7-662D-D353-4289FB8868A6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28FDEC79-125B-ED94-4920-CF5DE72D0010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F48DF279-ED4A-5A6D-B98E-96E218B76CA0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FCB6A27B-3620-1B01-FE9B-7ADB1AB2CDE8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893FE17F-204F-80F8-5963-3EE26F2D6348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67E81CC8-9359-C523-BDB1-4C8D3FF538C4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43C486EA-9768-AEC2-7D30-3896B4375FC9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0A335C23-7E75-4BAE-4D72-8FCDE505FD13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E12912A0-FEBC-E1E3-C428-705E98F8F837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F8BB8ED8-310C-D342-D5E3-E241181EEE8A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DC2F1A73-20A2-E0A5-7EEC-305A83318F6E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AE8181CB-AEF3-9736-55C4-CA409C1F07C5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4F72B0F9-5F51-39B7-6938-A37CBBAC62E7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0C7CC3B3-8A8A-5C33-4B74-91CDA8677776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3494023D-9AE0-2C75-6D36-02FA3026604E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0E23049F-6351-8261-86CC-0E083A9BB0DD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4A4FB2FB-72F9-9F80-B0C8-7932269E341A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9DC7C8EE-30A8-4418-45E6-0BC3B60AB9BF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5F86E0D4-FA1A-D9BC-82FC-3AF54E84C4CE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0797CC8F-50C5-5512-4B1D-3D21D301AAE2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C2DD99CE-047F-4148-D72E-6FA9A847743F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56D45F09-1D3D-7064-7E02-82D64AA048EE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07FC8197-7B60-D99E-73DF-2F28B10781A0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CC29C7C4-01D2-3D0C-C53E-E075C8B208D2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14881252-3012-ED44-2CF3-3B83F7E739F3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75E58412-4BE4-633F-1734-009E38700F8C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8DA010BF-3F32-3352-1B86-6D2D3A376E46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CE25EE35-A5E3-6725-E240-1B8530CCF096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9393112A-C3BA-B185-A1C5-EB62667F91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3950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EB3DCA-3767-4D5F-8AF0-03BC4F1D61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EB3DCA-3767-4D5F-8AF0-03BC4F1D61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6AE129DD-431B-4105-BB18-AC9BBAC757F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534478" y="2276475"/>
            <a:ext cx="3017520" cy="3017520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4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99F342A-65C3-694D-919E-32D061A74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AF9CE1AA-32A2-E14F-96D8-F0197DFC026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158683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360800"/>
            <a:ext cx="7761964" cy="646331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dd a meaningful title </a:t>
            </a:r>
            <a:endParaRPr lang="da-DK"/>
          </a:p>
        </p:txBody>
      </p:sp>
      <p:pic>
        <p:nvPicPr>
          <p:cNvPr id="4" name="Picture 18" descr="Icon&#10;&#10;Description automatically generated">
            <a:extLst>
              <a:ext uri="{FF2B5EF4-FFF2-40B4-BE49-F238E27FC236}">
                <a16:creationId xmlns:a16="http://schemas.microsoft.com/office/drawing/2014/main" id="{B2B6DD32-139D-05B9-5BB3-9ECC50A3B03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3A029BB4-8429-FDF7-2113-C00089C9E5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D00903CA-4902-BE15-B0F1-366A212EF2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6" name="Rektangel 35">
            <a:extLst>
              <a:ext uri="{FF2B5EF4-FFF2-40B4-BE49-F238E27FC236}">
                <a16:creationId xmlns:a16="http://schemas.microsoft.com/office/drawing/2014/main" id="{2D699BEE-C9AD-47B8-EDBC-C02AC1AC78A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7" name="Rektangel 36">
            <a:extLst>
              <a:ext uri="{FF2B5EF4-FFF2-40B4-BE49-F238E27FC236}">
                <a16:creationId xmlns:a16="http://schemas.microsoft.com/office/drawing/2014/main" id="{79BA5465-0F56-9133-9AC5-4BC3A24B027E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0" name="Tekstfelt 37">
            <a:extLst>
              <a:ext uri="{FF2B5EF4-FFF2-40B4-BE49-F238E27FC236}">
                <a16:creationId xmlns:a16="http://schemas.microsoft.com/office/drawing/2014/main" id="{B63B60A5-6275-9B57-A7A6-44632D2B2D69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1" name="Tekstfelt 38">
            <a:extLst>
              <a:ext uri="{FF2B5EF4-FFF2-40B4-BE49-F238E27FC236}">
                <a16:creationId xmlns:a16="http://schemas.microsoft.com/office/drawing/2014/main" id="{98DA1D41-6A3A-F2B6-438A-2E9A18CD38FE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2" name="Tekstfelt 39">
            <a:extLst>
              <a:ext uri="{FF2B5EF4-FFF2-40B4-BE49-F238E27FC236}">
                <a16:creationId xmlns:a16="http://schemas.microsoft.com/office/drawing/2014/main" id="{13E364FE-14C6-7187-FADA-C88245166F48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3" name="Tekstfelt 40">
            <a:extLst>
              <a:ext uri="{FF2B5EF4-FFF2-40B4-BE49-F238E27FC236}">
                <a16:creationId xmlns:a16="http://schemas.microsoft.com/office/drawing/2014/main" id="{8C360DB6-EB6D-656C-F57F-9340A36A5CE2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5" name="Tekstfelt 41">
            <a:extLst>
              <a:ext uri="{FF2B5EF4-FFF2-40B4-BE49-F238E27FC236}">
                <a16:creationId xmlns:a16="http://schemas.microsoft.com/office/drawing/2014/main" id="{37CC67ED-3AB1-0047-2500-1576363ED146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kstfelt 54">
            <a:extLst>
              <a:ext uri="{FF2B5EF4-FFF2-40B4-BE49-F238E27FC236}">
                <a16:creationId xmlns:a16="http://schemas.microsoft.com/office/drawing/2014/main" id="{8F21CFC4-C2F1-83F6-677B-ECD122FDAC1D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17" name="Tekstfelt 55">
            <a:extLst>
              <a:ext uri="{FF2B5EF4-FFF2-40B4-BE49-F238E27FC236}">
                <a16:creationId xmlns:a16="http://schemas.microsoft.com/office/drawing/2014/main" id="{7A2F8824-AF84-DE71-50BD-B7E43B3E21B5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18" name="Tekstfelt 56">
            <a:extLst>
              <a:ext uri="{FF2B5EF4-FFF2-40B4-BE49-F238E27FC236}">
                <a16:creationId xmlns:a16="http://schemas.microsoft.com/office/drawing/2014/main" id="{D3F4C0E4-1DDA-47AC-5506-717B7D5E7C9A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19" name="Tekstfelt 57">
            <a:extLst>
              <a:ext uri="{FF2B5EF4-FFF2-40B4-BE49-F238E27FC236}">
                <a16:creationId xmlns:a16="http://schemas.microsoft.com/office/drawing/2014/main" id="{8E85B379-6AAD-6D75-442E-1991AE15DC42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20" name="Tekstfelt 63">
            <a:extLst>
              <a:ext uri="{FF2B5EF4-FFF2-40B4-BE49-F238E27FC236}">
                <a16:creationId xmlns:a16="http://schemas.microsoft.com/office/drawing/2014/main" id="{FEBAEAF5-9CFC-9432-D74F-EBC39F257D9A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21" name="Tekstfelt 64">
            <a:extLst>
              <a:ext uri="{FF2B5EF4-FFF2-40B4-BE49-F238E27FC236}">
                <a16:creationId xmlns:a16="http://schemas.microsoft.com/office/drawing/2014/main" id="{D15183EC-E8E5-1C0F-6685-296BC51CB758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6C6AC432-A994-BE59-253E-65E118C20EED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23" name="Tekstfelt 66">
            <a:extLst>
              <a:ext uri="{FF2B5EF4-FFF2-40B4-BE49-F238E27FC236}">
                <a16:creationId xmlns:a16="http://schemas.microsoft.com/office/drawing/2014/main" id="{F495F91E-0146-1345-244C-FE67BD9D7B3D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24" name="Tekstfelt 68">
            <a:extLst>
              <a:ext uri="{FF2B5EF4-FFF2-40B4-BE49-F238E27FC236}">
                <a16:creationId xmlns:a16="http://schemas.microsoft.com/office/drawing/2014/main" id="{20187CEC-4BBD-5FDE-95D6-69EB3E3F69ED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25" name="Tekstfelt 69">
            <a:extLst>
              <a:ext uri="{FF2B5EF4-FFF2-40B4-BE49-F238E27FC236}">
                <a16:creationId xmlns:a16="http://schemas.microsoft.com/office/drawing/2014/main" id="{52A26306-6E39-E90C-19C1-F4BECC14E4B3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26" name="Tekstfelt 70">
            <a:extLst>
              <a:ext uri="{FF2B5EF4-FFF2-40B4-BE49-F238E27FC236}">
                <a16:creationId xmlns:a16="http://schemas.microsoft.com/office/drawing/2014/main" id="{C9D95D6D-9EFB-DEB9-2300-22BDC3B88B83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27" name="Tekstfelt 71">
            <a:extLst>
              <a:ext uri="{FF2B5EF4-FFF2-40B4-BE49-F238E27FC236}">
                <a16:creationId xmlns:a16="http://schemas.microsoft.com/office/drawing/2014/main" id="{E3EAF056-42FD-C848-01C0-BE1E4EA0EF75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28" name="Tekstfelt 74">
            <a:extLst>
              <a:ext uri="{FF2B5EF4-FFF2-40B4-BE49-F238E27FC236}">
                <a16:creationId xmlns:a16="http://schemas.microsoft.com/office/drawing/2014/main" id="{A4D29F73-0B3A-67C7-301E-0FDDE97D5C46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29" name="Tekstfelt 75">
            <a:extLst>
              <a:ext uri="{FF2B5EF4-FFF2-40B4-BE49-F238E27FC236}">
                <a16:creationId xmlns:a16="http://schemas.microsoft.com/office/drawing/2014/main" id="{0063D533-0D32-4F2A-CB50-38AF62A5ED77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30" name="Tekstfelt 76">
            <a:extLst>
              <a:ext uri="{FF2B5EF4-FFF2-40B4-BE49-F238E27FC236}">
                <a16:creationId xmlns:a16="http://schemas.microsoft.com/office/drawing/2014/main" id="{6A6FC1FE-2253-1BB5-21A5-E203D6B1A04A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31" name="Tekstfelt 77">
            <a:extLst>
              <a:ext uri="{FF2B5EF4-FFF2-40B4-BE49-F238E27FC236}">
                <a16:creationId xmlns:a16="http://schemas.microsoft.com/office/drawing/2014/main" id="{8F824C72-0122-50D1-6FF7-657A7643CE89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32" name="Tekstfelt 79">
            <a:extLst>
              <a:ext uri="{FF2B5EF4-FFF2-40B4-BE49-F238E27FC236}">
                <a16:creationId xmlns:a16="http://schemas.microsoft.com/office/drawing/2014/main" id="{943D7CA2-784F-DD5D-83BB-335E237E1F27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33" name="Tekstfelt 80">
            <a:extLst>
              <a:ext uri="{FF2B5EF4-FFF2-40B4-BE49-F238E27FC236}">
                <a16:creationId xmlns:a16="http://schemas.microsoft.com/office/drawing/2014/main" id="{E272BFB4-0AB5-AEF1-03AD-757D9F28DDB5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34" name="Tekstfelt 81">
            <a:extLst>
              <a:ext uri="{FF2B5EF4-FFF2-40B4-BE49-F238E27FC236}">
                <a16:creationId xmlns:a16="http://schemas.microsoft.com/office/drawing/2014/main" id="{EEAA85B1-FB2F-B20E-13A0-19D09D9C776D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35" name="Tekstfelt 82">
            <a:extLst>
              <a:ext uri="{FF2B5EF4-FFF2-40B4-BE49-F238E27FC236}">
                <a16:creationId xmlns:a16="http://schemas.microsoft.com/office/drawing/2014/main" id="{753BBF28-79D7-052E-466C-2EB71EADB729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36" name="Tekstfelt 84">
            <a:extLst>
              <a:ext uri="{FF2B5EF4-FFF2-40B4-BE49-F238E27FC236}">
                <a16:creationId xmlns:a16="http://schemas.microsoft.com/office/drawing/2014/main" id="{6AC56CD7-966C-9D4F-37D2-F601BED33BA7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37" name="Tekstfelt 85">
            <a:extLst>
              <a:ext uri="{FF2B5EF4-FFF2-40B4-BE49-F238E27FC236}">
                <a16:creationId xmlns:a16="http://schemas.microsoft.com/office/drawing/2014/main" id="{9F5AA56F-606C-1D2E-B5C0-D9BA6D3DFB48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38" name="Tekstfelt 86">
            <a:extLst>
              <a:ext uri="{FF2B5EF4-FFF2-40B4-BE49-F238E27FC236}">
                <a16:creationId xmlns:a16="http://schemas.microsoft.com/office/drawing/2014/main" id="{84013473-5212-ABF7-BB7A-09F024009424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39" name="Tekstfelt 87">
            <a:extLst>
              <a:ext uri="{FF2B5EF4-FFF2-40B4-BE49-F238E27FC236}">
                <a16:creationId xmlns:a16="http://schemas.microsoft.com/office/drawing/2014/main" id="{E01A9B3A-4E0D-C635-94FB-EFFF6FBA4F8C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0" name="Tekstfelt 47">
            <a:extLst>
              <a:ext uri="{FF2B5EF4-FFF2-40B4-BE49-F238E27FC236}">
                <a16:creationId xmlns:a16="http://schemas.microsoft.com/office/drawing/2014/main" id="{67CD7EEF-EB24-67B2-6853-2F58B3811A25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41" name="Tekstfelt 62">
            <a:extLst>
              <a:ext uri="{FF2B5EF4-FFF2-40B4-BE49-F238E27FC236}">
                <a16:creationId xmlns:a16="http://schemas.microsoft.com/office/drawing/2014/main" id="{C3C0EE26-C470-017A-F3B3-EC089B8BBCF0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42" name="Tekstfelt 67">
            <a:extLst>
              <a:ext uri="{FF2B5EF4-FFF2-40B4-BE49-F238E27FC236}">
                <a16:creationId xmlns:a16="http://schemas.microsoft.com/office/drawing/2014/main" id="{A731A0E4-8377-4CD7-5382-8EEE82B5C437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43" name="Tekstfelt 73">
            <a:extLst>
              <a:ext uri="{FF2B5EF4-FFF2-40B4-BE49-F238E27FC236}">
                <a16:creationId xmlns:a16="http://schemas.microsoft.com/office/drawing/2014/main" id="{A93B4EB5-EAA5-4DA4-E87B-CB8C92BB2302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44" name="Tekstfelt 78">
            <a:extLst>
              <a:ext uri="{FF2B5EF4-FFF2-40B4-BE49-F238E27FC236}">
                <a16:creationId xmlns:a16="http://schemas.microsoft.com/office/drawing/2014/main" id="{DFE476FA-DC61-934B-01F2-32B256640511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45" name="Tekstfelt 83">
            <a:extLst>
              <a:ext uri="{FF2B5EF4-FFF2-40B4-BE49-F238E27FC236}">
                <a16:creationId xmlns:a16="http://schemas.microsoft.com/office/drawing/2014/main" id="{B91F7948-0200-464E-25B7-EA19878E82D5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46" name="Tekstfelt 88">
            <a:extLst>
              <a:ext uri="{FF2B5EF4-FFF2-40B4-BE49-F238E27FC236}">
                <a16:creationId xmlns:a16="http://schemas.microsoft.com/office/drawing/2014/main" id="{855DE490-9C26-F64B-B252-A51DBFB8576E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47" name="Tekstfelt 89">
            <a:extLst>
              <a:ext uri="{FF2B5EF4-FFF2-40B4-BE49-F238E27FC236}">
                <a16:creationId xmlns:a16="http://schemas.microsoft.com/office/drawing/2014/main" id="{A3FBCCE7-FA69-D14B-F38A-3578ED9913ED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48" name="Tekstfelt 90">
            <a:extLst>
              <a:ext uri="{FF2B5EF4-FFF2-40B4-BE49-F238E27FC236}">
                <a16:creationId xmlns:a16="http://schemas.microsoft.com/office/drawing/2014/main" id="{33144776-16F5-39C4-8952-84D81380359C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49" name="Tekstfelt 91">
            <a:extLst>
              <a:ext uri="{FF2B5EF4-FFF2-40B4-BE49-F238E27FC236}">
                <a16:creationId xmlns:a16="http://schemas.microsoft.com/office/drawing/2014/main" id="{30C73A02-3B0C-3B25-0D4D-9D65F285DF86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50" name="Tekstfelt 92">
            <a:extLst>
              <a:ext uri="{FF2B5EF4-FFF2-40B4-BE49-F238E27FC236}">
                <a16:creationId xmlns:a16="http://schemas.microsoft.com/office/drawing/2014/main" id="{159D0905-B474-0460-109F-E6713C69FE78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51" name="Billede 3">
            <a:extLst>
              <a:ext uri="{FF2B5EF4-FFF2-40B4-BE49-F238E27FC236}">
                <a16:creationId xmlns:a16="http://schemas.microsoft.com/office/drawing/2014/main" id="{6E87E548-B64B-BA8B-DDEA-DCFC43C1CD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3616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Page 2.0">
    <p:bg>
      <p:bgPr>
        <a:solidFill>
          <a:srgbClr val="484C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13">
            <a:extLst>
              <a:ext uri="{FF2B5EF4-FFF2-40B4-BE49-F238E27FC236}">
                <a16:creationId xmlns:a16="http://schemas.microsoft.com/office/drawing/2014/main" id="{D9CEE3A6-DA55-924A-AC83-D49177F8F3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2256" y="0"/>
            <a:ext cx="6078544" cy="6858000"/>
          </a:xfrm>
          <a:custGeom>
            <a:avLst/>
            <a:gdLst>
              <a:gd name="connsiteX0" fmla="*/ 274320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0" fmla="*/ 3203241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203241 w 5843155"/>
              <a:gd name="connsiteY4" fmla="*/ 0 h 6858000"/>
              <a:gd name="connsiteX0" fmla="*/ 3033633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3033633 w 5843155"/>
              <a:gd name="connsiteY4" fmla="*/ 0 h 6858000"/>
              <a:gd name="connsiteX0" fmla="*/ 2829690 w 5843155"/>
              <a:gd name="connsiteY0" fmla="*/ 0 h 6858000"/>
              <a:gd name="connsiteX1" fmla="*/ 5843155 w 5843155"/>
              <a:gd name="connsiteY1" fmla="*/ 0 h 6858000"/>
              <a:gd name="connsiteX2" fmla="*/ 5843155 w 5843155"/>
              <a:gd name="connsiteY2" fmla="*/ 6858000 h 6858000"/>
              <a:gd name="connsiteX3" fmla="*/ 0 w 5843155"/>
              <a:gd name="connsiteY3" fmla="*/ 6858000 h 6858000"/>
              <a:gd name="connsiteX4" fmla="*/ 2829690 w 5843155"/>
              <a:gd name="connsiteY4" fmla="*/ 0 h 6858000"/>
              <a:gd name="connsiteX0" fmla="*/ 2912897 w 5926362"/>
              <a:gd name="connsiteY0" fmla="*/ 0 h 6858000"/>
              <a:gd name="connsiteX1" fmla="*/ 5926362 w 5926362"/>
              <a:gd name="connsiteY1" fmla="*/ 0 h 6858000"/>
              <a:gd name="connsiteX2" fmla="*/ 5926362 w 5926362"/>
              <a:gd name="connsiteY2" fmla="*/ 6858000 h 6858000"/>
              <a:gd name="connsiteX3" fmla="*/ 0 w 5926362"/>
              <a:gd name="connsiteY3" fmla="*/ 6858000 h 6858000"/>
              <a:gd name="connsiteX4" fmla="*/ 2912897 w 592636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6362" h="6858000">
                <a:moveTo>
                  <a:pt x="2912897" y="0"/>
                </a:moveTo>
                <a:lnTo>
                  <a:pt x="5926362" y="0"/>
                </a:lnTo>
                <a:lnTo>
                  <a:pt x="5926362" y="6858000"/>
                </a:lnTo>
                <a:lnTo>
                  <a:pt x="0" y="6858000"/>
                </a:lnTo>
                <a:cubicBezTo>
                  <a:pt x="914400" y="4572000"/>
                  <a:pt x="1998497" y="2286000"/>
                  <a:pt x="2912897" y="0"/>
                </a:cubicBezTo>
                <a:close/>
              </a:path>
            </a:pathLst>
          </a:cu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buNone/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2D9182-13B8-4A58-B7AC-E8A7DC84E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2D9182-13B8-4A58-B7AC-E8A7DC84E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6">
            <a:extLst>
              <a:ext uri="{FF2B5EF4-FFF2-40B4-BE49-F238E27FC236}">
                <a16:creationId xmlns:a16="http://schemas.microsoft.com/office/drawing/2014/main" id="{28D17BDB-8CA4-074E-A993-321B21256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944" y="325957"/>
            <a:ext cx="461815" cy="453569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6796B1BD-675C-E444-B43F-007C641138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1198" y="1987200"/>
            <a:ext cx="6467422" cy="4535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None/>
              <a:defRPr sz="1600" b="0" i="0" spc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JOE &amp; THE JUICE – Month, 20XX</a:t>
            </a:r>
            <a:endParaRPr lang="en-MY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4764F5A0-F30C-A247-9FE1-995E97BEE5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200" y="1360801"/>
            <a:ext cx="6467420" cy="626400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Roboto Condensed" panose="02000000000000000000" pitchFamily="2" charset="0"/>
              </a:defRPr>
            </a:lvl1pPr>
          </a:lstStyle>
          <a:p>
            <a:r>
              <a:rPr lang="da-DK" sz="4000" err="1">
                <a:latin typeface="Trebuchet MS" panose="020B0703020202090204" pitchFamily="34" charset="0"/>
              </a:rPr>
              <a:t>Appendix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06454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01DCB31-0471-141D-8766-7847D2804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1DCB31-0471-141D-8766-7847D2804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7304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7B2432-DCD7-4DC8-82A0-43F77E8949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7B2432-DCD7-4DC8-82A0-43F77E8949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3E73128-120E-48CE-B46E-54CA2560F6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99000" y="2458567"/>
            <a:ext cx="1517904" cy="1517904"/>
          </a:xfrm>
          <a:prstGeom prst="ellipse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FDB233C-549E-044B-B81D-06E7EA7FB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CFE98C1-7A52-6C4A-80C4-18E28727F26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95868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A7FF79-8302-40E9-9E6B-EDCD45F4FB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A7FF79-8302-40E9-9E6B-EDCD45F4FB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Picture Placeholder 8">
            <a:extLst>
              <a:ext uri="{FF2B5EF4-FFF2-40B4-BE49-F238E27FC236}">
                <a16:creationId xmlns:a16="http://schemas.microsoft.com/office/drawing/2014/main" id="{9064D987-3A39-4D2E-9C6F-ED12B4B9B6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48190" y="1900237"/>
            <a:ext cx="3348035" cy="18891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3E2EDD9B-4295-464E-BAA3-73F0A05BEB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2" y="1900237"/>
            <a:ext cx="3348035" cy="18891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3" name="Picture Placeholder 8">
            <a:extLst>
              <a:ext uri="{FF2B5EF4-FFF2-40B4-BE49-F238E27FC236}">
                <a16:creationId xmlns:a16="http://schemas.microsoft.com/office/drawing/2014/main" id="{C45818DE-DE6B-4AE3-B230-C69BC6364E1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29618" y="1900237"/>
            <a:ext cx="3348035" cy="18891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8ED87C9-E4F1-9145-A08E-62C56068D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E6FBBAE-4D68-294C-A6D8-68ABDA5F13C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61656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 with Imag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F1F9FB-BD3A-4A17-9CB6-411B955C2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F1F9FB-BD3A-4A17-9CB6-411B955C2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8">
            <a:extLst>
              <a:ext uri="{FF2B5EF4-FFF2-40B4-BE49-F238E27FC236}">
                <a16:creationId xmlns:a16="http://schemas.microsoft.com/office/drawing/2014/main" id="{CA75D19B-C47D-4D9B-BD32-74715EF51D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2" y="1891674"/>
            <a:ext cx="3026664" cy="1216152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309092-333A-460B-A0A5-E2674D975E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341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56" name="Picture Placeholder 8">
            <a:extLst>
              <a:ext uri="{FF2B5EF4-FFF2-40B4-BE49-F238E27FC236}">
                <a16:creationId xmlns:a16="http://schemas.microsoft.com/office/drawing/2014/main" id="{D304E1FA-7525-4D56-9C06-744AC88846E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5873" y="3273072"/>
            <a:ext cx="3026664" cy="1216152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57" name="Picture Placeholder 8">
            <a:extLst>
              <a:ext uri="{FF2B5EF4-FFF2-40B4-BE49-F238E27FC236}">
                <a16:creationId xmlns:a16="http://schemas.microsoft.com/office/drawing/2014/main" id="{05484CFA-7486-43E6-BB8D-DF97558AF52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4984" y="4657572"/>
            <a:ext cx="3026664" cy="1216152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230B0DA-5114-024D-A5F5-547A1C66B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6704DE2F-F926-1E43-87F3-22E0AEB931C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28406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 with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AB823-5F85-4482-882F-6A24B1130E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AB823-5F85-4482-882F-6A24B113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E027B3F-BDB5-4B12-946D-CC6002EFBF6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6762" y="2276475"/>
            <a:ext cx="2267712" cy="189280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2EF6A73C-A57B-4619-9E40-CBCB0CD89AE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40401" y="2276475"/>
            <a:ext cx="2267712" cy="189280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8738AF9-30A8-4A8D-8097-CA9AD6E15F2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14040" y="2276475"/>
            <a:ext cx="2267712" cy="189280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6A3E6797-7CEF-475E-B534-63240CE9AB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87679" y="2276475"/>
            <a:ext cx="2267712" cy="189280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DAF65F8-1530-4EB1-990C-B5A70EBD58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BB36F61-BDD9-DA4C-9552-933335041C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F495690-51AF-6D4F-85AE-3DB61CC181E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61205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2C28FF-C52B-40C5-953D-2CE7D6B1AC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2C28FF-C52B-40C5-953D-2CE7D6B1A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E027B3F-BDB5-4B12-946D-CC6002EFBF6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2276474"/>
            <a:ext cx="5298597" cy="229552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2000" b="0" i="0">
                <a:latin typeface="Trebuchet MS" panose="020B0703020202090204" pitchFamily="34" charset="0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DAF65F8-1530-4EB1-990C-B5A70EBD58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3258" y="1320695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 i="0" spc="60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WRITE SOMETHING HERE</a:t>
            </a:r>
            <a:endParaRPr lang="en-MY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0F02A6-FDB2-B346-8DE2-6D3697797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92" y="36490"/>
            <a:ext cx="10515600" cy="886732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D0C5CF-FB50-2A46-8C2E-D2F8B2AEE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02870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5.png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2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2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7.emf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oleObject" Target="../embeddings/oleObject25.bin"/><Relationship Id="rId10" Type="http://schemas.openxmlformats.org/officeDocument/2006/relationships/slideLayout" Target="../slideLayouts/slideLayout4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5B27E51-7A9C-400F-A882-D26E55F793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00" imgH="393" progId="TCLayout.ActiveDocument.1">
                  <p:embed/>
                </p:oleObj>
              </mc:Choice>
              <mc:Fallback>
                <p:oleObj name="think-cell Slide" r:id="rId34" imgW="400" imgH="3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5B27E51-7A9C-400F-A882-D26E55F793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B549AD5-7629-4E30-911F-2D1B026EAA77}"/>
              </a:ext>
            </a:extLst>
          </p:cNvPr>
          <p:cNvSpPr txBox="1">
            <a:spLocks/>
          </p:cNvSpPr>
          <p:nvPr userDrawn="1"/>
        </p:nvSpPr>
        <p:spPr>
          <a:xfrm>
            <a:off x="11866582" y="6545850"/>
            <a:ext cx="272881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b="0" i="0" smtClean="0">
                <a:solidFill>
                  <a:schemeClr val="tx1"/>
                </a:solidFill>
                <a:latin typeface="Trebuchet MS" panose="020B0703020202090204" pitchFamily="34" charset="0"/>
                <a:ea typeface="Roboto" panose="02000000000000000000" pitchFamily="2" charset="0"/>
                <a:cs typeface="Open Sans Light" panose="020B0306030504020204" pitchFamily="34" charset="0"/>
              </a:rPr>
              <a:pPr algn="ctr"/>
              <a:t>‹nr.›</a:t>
            </a:fld>
            <a:endParaRPr lang="en-US" sz="1200" b="0" i="0">
              <a:solidFill>
                <a:schemeClr val="tx1"/>
              </a:solidFill>
              <a:latin typeface="Trebuchet MS" panose="020B0703020202090204" pitchFamily="34" charset="0"/>
              <a:ea typeface="Roboto" panose="02000000000000000000" pitchFamily="2" charset="0"/>
              <a:cs typeface="Open Sans Light" panose="020B0306030504020204" pitchFamily="34" charset="0"/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81144DF3-EA3D-6F4F-8BCA-445B5BAA5A18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6D789E58-2131-0140-9426-3939487402D7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36" name="Rektangel 35">
            <a:extLst>
              <a:ext uri="{FF2B5EF4-FFF2-40B4-BE49-F238E27FC236}">
                <a16:creationId xmlns:a16="http://schemas.microsoft.com/office/drawing/2014/main" id="{5FA3EEDC-CF6A-9B4E-A4AD-CC150C2BF580}"/>
              </a:ext>
            </a:extLst>
          </p:cNvPr>
          <p:cNvSpPr/>
          <p:nvPr userDrawn="1"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7F3B361C-3A45-1549-B978-BF414294CF77}"/>
              </a:ext>
            </a:extLst>
          </p:cNvPr>
          <p:cNvSpPr/>
          <p:nvPr userDrawn="1"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08546534-3AFD-464E-83D0-9DC633B8EBC4}"/>
              </a:ext>
            </a:extLst>
          </p:cNvPr>
          <p:cNvSpPr txBox="1"/>
          <p:nvPr userDrawn="1"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167428E1-A113-2044-BC06-164573042554}"/>
              </a:ext>
            </a:extLst>
          </p:cNvPr>
          <p:cNvSpPr txBox="1"/>
          <p:nvPr userDrawn="1"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5F7EAFF9-8359-CA45-86DF-9F499C467DA9}"/>
              </a:ext>
            </a:extLst>
          </p:cNvPr>
          <p:cNvSpPr txBox="1"/>
          <p:nvPr userDrawn="1"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920E0389-7DCD-D64B-8065-50D18433F2E3}"/>
              </a:ext>
            </a:extLst>
          </p:cNvPr>
          <p:cNvSpPr txBox="1"/>
          <p:nvPr userDrawn="1"/>
        </p:nvSpPr>
        <p:spPr>
          <a:xfrm>
            <a:off x="12986401" y="5344253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42" name="Tekstfelt 41">
            <a:extLst>
              <a:ext uri="{FF2B5EF4-FFF2-40B4-BE49-F238E27FC236}">
                <a16:creationId xmlns:a16="http://schemas.microsoft.com/office/drawing/2014/main" id="{ECD7CC86-8092-B747-88D2-1B5A3ED15AD6}"/>
              </a:ext>
            </a:extLst>
          </p:cNvPr>
          <p:cNvSpPr txBox="1"/>
          <p:nvPr userDrawn="1"/>
        </p:nvSpPr>
        <p:spPr>
          <a:xfrm>
            <a:off x="12986401" y="6153153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55" name="Tekstfelt 54">
            <a:extLst>
              <a:ext uri="{FF2B5EF4-FFF2-40B4-BE49-F238E27FC236}">
                <a16:creationId xmlns:a16="http://schemas.microsoft.com/office/drawing/2014/main" id="{D9179791-5FB0-FC43-8218-3D2482797AA9}"/>
              </a:ext>
            </a:extLst>
          </p:cNvPr>
          <p:cNvSpPr txBox="1"/>
          <p:nvPr userDrawn="1"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56" name="Tekstfelt 55">
            <a:extLst>
              <a:ext uri="{FF2B5EF4-FFF2-40B4-BE49-F238E27FC236}">
                <a16:creationId xmlns:a16="http://schemas.microsoft.com/office/drawing/2014/main" id="{EADED5B1-8380-7347-993D-EB345A9EBA7F}"/>
              </a:ext>
            </a:extLst>
          </p:cNvPr>
          <p:cNvSpPr txBox="1"/>
          <p:nvPr userDrawn="1"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57" name="Tekstfelt 56">
            <a:extLst>
              <a:ext uri="{FF2B5EF4-FFF2-40B4-BE49-F238E27FC236}">
                <a16:creationId xmlns:a16="http://schemas.microsoft.com/office/drawing/2014/main" id="{0ED8634B-F057-AE42-B5A6-361555717BF2}"/>
              </a:ext>
            </a:extLst>
          </p:cNvPr>
          <p:cNvSpPr txBox="1">
            <a:spLocks/>
          </p:cNvSpPr>
          <p:nvPr userDrawn="1"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58" name="Tekstfelt 57">
            <a:extLst>
              <a:ext uri="{FF2B5EF4-FFF2-40B4-BE49-F238E27FC236}">
                <a16:creationId xmlns:a16="http://schemas.microsoft.com/office/drawing/2014/main" id="{551E0D38-6F43-5242-8508-E9BFD37B3ED8}"/>
              </a:ext>
            </a:extLst>
          </p:cNvPr>
          <p:cNvSpPr txBox="1">
            <a:spLocks/>
          </p:cNvSpPr>
          <p:nvPr userDrawn="1"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64" name="Tekstfelt 63">
            <a:extLst>
              <a:ext uri="{FF2B5EF4-FFF2-40B4-BE49-F238E27FC236}">
                <a16:creationId xmlns:a16="http://schemas.microsoft.com/office/drawing/2014/main" id="{AB8F2413-31DD-4946-AC00-4E40E60A0482}"/>
              </a:ext>
            </a:extLst>
          </p:cNvPr>
          <p:cNvSpPr txBox="1">
            <a:spLocks/>
          </p:cNvSpPr>
          <p:nvPr userDrawn="1"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65" name="Tekstfelt 64">
            <a:extLst>
              <a:ext uri="{FF2B5EF4-FFF2-40B4-BE49-F238E27FC236}">
                <a16:creationId xmlns:a16="http://schemas.microsoft.com/office/drawing/2014/main" id="{6B98D8A4-BD10-AF45-B078-E9CEC0F73364}"/>
              </a:ext>
            </a:extLst>
          </p:cNvPr>
          <p:cNvSpPr txBox="1">
            <a:spLocks/>
          </p:cNvSpPr>
          <p:nvPr userDrawn="1"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66" name="Tekstfelt 65">
            <a:extLst>
              <a:ext uri="{FF2B5EF4-FFF2-40B4-BE49-F238E27FC236}">
                <a16:creationId xmlns:a16="http://schemas.microsoft.com/office/drawing/2014/main" id="{CA33C4DE-0A8D-5E4E-9C6B-A29481CD532E}"/>
              </a:ext>
            </a:extLst>
          </p:cNvPr>
          <p:cNvSpPr txBox="1">
            <a:spLocks/>
          </p:cNvSpPr>
          <p:nvPr userDrawn="1"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67" name="Tekstfelt 66">
            <a:extLst>
              <a:ext uri="{FF2B5EF4-FFF2-40B4-BE49-F238E27FC236}">
                <a16:creationId xmlns:a16="http://schemas.microsoft.com/office/drawing/2014/main" id="{D9C23AB8-1279-E947-A80A-FC5071332421}"/>
              </a:ext>
            </a:extLst>
          </p:cNvPr>
          <p:cNvSpPr txBox="1">
            <a:spLocks/>
          </p:cNvSpPr>
          <p:nvPr userDrawn="1"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69" name="Tekstfelt 68">
            <a:extLst>
              <a:ext uri="{FF2B5EF4-FFF2-40B4-BE49-F238E27FC236}">
                <a16:creationId xmlns:a16="http://schemas.microsoft.com/office/drawing/2014/main" id="{E55F8730-39C1-8140-8B95-325099E64058}"/>
              </a:ext>
            </a:extLst>
          </p:cNvPr>
          <p:cNvSpPr txBox="1"/>
          <p:nvPr userDrawn="1"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70" name="Tekstfelt 69">
            <a:extLst>
              <a:ext uri="{FF2B5EF4-FFF2-40B4-BE49-F238E27FC236}">
                <a16:creationId xmlns:a16="http://schemas.microsoft.com/office/drawing/2014/main" id="{9B9D7F77-B194-2740-8F56-3234CA6CF25D}"/>
              </a:ext>
            </a:extLst>
          </p:cNvPr>
          <p:cNvSpPr txBox="1"/>
          <p:nvPr userDrawn="1"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71" name="Tekstfelt 70">
            <a:extLst>
              <a:ext uri="{FF2B5EF4-FFF2-40B4-BE49-F238E27FC236}">
                <a16:creationId xmlns:a16="http://schemas.microsoft.com/office/drawing/2014/main" id="{3796CA5F-4A65-E24C-956C-E9DCE328F1FC}"/>
              </a:ext>
            </a:extLst>
          </p:cNvPr>
          <p:cNvSpPr txBox="1"/>
          <p:nvPr userDrawn="1"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72" name="Tekstfelt 71">
            <a:extLst>
              <a:ext uri="{FF2B5EF4-FFF2-40B4-BE49-F238E27FC236}">
                <a16:creationId xmlns:a16="http://schemas.microsoft.com/office/drawing/2014/main" id="{A8BA432A-7B22-4540-B13B-1776ECD73249}"/>
              </a:ext>
            </a:extLst>
          </p:cNvPr>
          <p:cNvSpPr txBox="1"/>
          <p:nvPr userDrawn="1"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75" name="Tekstfelt 74">
            <a:extLst>
              <a:ext uri="{FF2B5EF4-FFF2-40B4-BE49-F238E27FC236}">
                <a16:creationId xmlns:a16="http://schemas.microsoft.com/office/drawing/2014/main" id="{7CA2306F-5961-804D-A3D0-48DB99039767}"/>
              </a:ext>
            </a:extLst>
          </p:cNvPr>
          <p:cNvSpPr txBox="1">
            <a:spLocks/>
          </p:cNvSpPr>
          <p:nvPr userDrawn="1"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76" name="Tekstfelt 75">
            <a:extLst>
              <a:ext uri="{FF2B5EF4-FFF2-40B4-BE49-F238E27FC236}">
                <a16:creationId xmlns:a16="http://schemas.microsoft.com/office/drawing/2014/main" id="{2C0CB7C2-B21B-BA4D-851F-18D6A11BFA8B}"/>
              </a:ext>
            </a:extLst>
          </p:cNvPr>
          <p:cNvSpPr txBox="1">
            <a:spLocks/>
          </p:cNvSpPr>
          <p:nvPr userDrawn="1"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77" name="Tekstfelt 76">
            <a:extLst>
              <a:ext uri="{FF2B5EF4-FFF2-40B4-BE49-F238E27FC236}">
                <a16:creationId xmlns:a16="http://schemas.microsoft.com/office/drawing/2014/main" id="{D8826333-25A2-6A4A-9578-FC30F3C4D3A8}"/>
              </a:ext>
            </a:extLst>
          </p:cNvPr>
          <p:cNvSpPr txBox="1">
            <a:spLocks/>
          </p:cNvSpPr>
          <p:nvPr userDrawn="1"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78" name="Tekstfelt 77">
            <a:extLst>
              <a:ext uri="{FF2B5EF4-FFF2-40B4-BE49-F238E27FC236}">
                <a16:creationId xmlns:a16="http://schemas.microsoft.com/office/drawing/2014/main" id="{21DD8EF4-77A7-DF4B-8CB3-C178ADB36756}"/>
              </a:ext>
            </a:extLst>
          </p:cNvPr>
          <p:cNvSpPr txBox="1">
            <a:spLocks/>
          </p:cNvSpPr>
          <p:nvPr userDrawn="1"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80" name="Tekstfelt 79">
            <a:extLst>
              <a:ext uri="{FF2B5EF4-FFF2-40B4-BE49-F238E27FC236}">
                <a16:creationId xmlns:a16="http://schemas.microsoft.com/office/drawing/2014/main" id="{2492513D-091A-0148-BBBB-77945E7F89BC}"/>
              </a:ext>
            </a:extLst>
          </p:cNvPr>
          <p:cNvSpPr txBox="1">
            <a:spLocks/>
          </p:cNvSpPr>
          <p:nvPr userDrawn="1"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81" name="Tekstfelt 80">
            <a:extLst>
              <a:ext uri="{FF2B5EF4-FFF2-40B4-BE49-F238E27FC236}">
                <a16:creationId xmlns:a16="http://schemas.microsoft.com/office/drawing/2014/main" id="{F249A389-4207-C849-85BE-71C27E0C4697}"/>
              </a:ext>
            </a:extLst>
          </p:cNvPr>
          <p:cNvSpPr txBox="1">
            <a:spLocks/>
          </p:cNvSpPr>
          <p:nvPr userDrawn="1"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82" name="Tekstfelt 81">
            <a:extLst>
              <a:ext uri="{FF2B5EF4-FFF2-40B4-BE49-F238E27FC236}">
                <a16:creationId xmlns:a16="http://schemas.microsoft.com/office/drawing/2014/main" id="{744A564E-1625-3647-AAC5-7DE55803B3CE}"/>
              </a:ext>
            </a:extLst>
          </p:cNvPr>
          <p:cNvSpPr txBox="1">
            <a:spLocks/>
          </p:cNvSpPr>
          <p:nvPr userDrawn="1"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83" name="Tekstfelt 82">
            <a:extLst>
              <a:ext uri="{FF2B5EF4-FFF2-40B4-BE49-F238E27FC236}">
                <a16:creationId xmlns:a16="http://schemas.microsoft.com/office/drawing/2014/main" id="{E4304438-ECE6-5246-A3EC-C5116B247B8C}"/>
              </a:ext>
            </a:extLst>
          </p:cNvPr>
          <p:cNvSpPr txBox="1">
            <a:spLocks/>
          </p:cNvSpPr>
          <p:nvPr userDrawn="1"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85" name="Tekstfelt 84">
            <a:extLst>
              <a:ext uri="{FF2B5EF4-FFF2-40B4-BE49-F238E27FC236}">
                <a16:creationId xmlns:a16="http://schemas.microsoft.com/office/drawing/2014/main" id="{2AEF821C-1C9D-9243-9C0F-6B55FA329D3A}"/>
              </a:ext>
            </a:extLst>
          </p:cNvPr>
          <p:cNvSpPr txBox="1">
            <a:spLocks/>
          </p:cNvSpPr>
          <p:nvPr userDrawn="1"/>
        </p:nvSpPr>
        <p:spPr>
          <a:xfrm>
            <a:off x="15122758" y="5358147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86" name="Tekstfelt 85">
            <a:extLst>
              <a:ext uri="{FF2B5EF4-FFF2-40B4-BE49-F238E27FC236}">
                <a16:creationId xmlns:a16="http://schemas.microsoft.com/office/drawing/2014/main" id="{624C7DF3-AFA4-F845-8510-7A5F533BD973}"/>
              </a:ext>
            </a:extLst>
          </p:cNvPr>
          <p:cNvSpPr txBox="1">
            <a:spLocks/>
          </p:cNvSpPr>
          <p:nvPr userDrawn="1"/>
        </p:nvSpPr>
        <p:spPr>
          <a:xfrm>
            <a:off x="15958703" y="5358147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87" name="Tekstfelt 86">
            <a:extLst>
              <a:ext uri="{FF2B5EF4-FFF2-40B4-BE49-F238E27FC236}">
                <a16:creationId xmlns:a16="http://schemas.microsoft.com/office/drawing/2014/main" id="{D4C3EC06-2ADD-7E40-901B-D96F873726A7}"/>
              </a:ext>
            </a:extLst>
          </p:cNvPr>
          <p:cNvSpPr txBox="1">
            <a:spLocks/>
          </p:cNvSpPr>
          <p:nvPr userDrawn="1"/>
        </p:nvSpPr>
        <p:spPr>
          <a:xfrm>
            <a:off x="16790503" y="5358147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88" name="Tekstfelt 87">
            <a:extLst>
              <a:ext uri="{FF2B5EF4-FFF2-40B4-BE49-F238E27FC236}">
                <a16:creationId xmlns:a16="http://schemas.microsoft.com/office/drawing/2014/main" id="{07F041F9-5B54-2641-ABEC-9BAE9F76D906}"/>
              </a:ext>
            </a:extLst>
          </p:cNvPr>
          <p:cNvSpPr txBox="1">
            <a:spLocks/>
          </p:cNvSpPr>
          <p:nvPr userDrawn="1"/>
        </p:nvSpPr>
        <p:spPr>
          <a:xfrm>
            <a:off x="17595634" y="5358147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48" name="Tekstfelt 47">
            <a:extLst>
              <a:ext uri="{FF2B5EF4-FFF2-40B4-BE49-F238E27FC236}">
                <a16:creationId xmlns:a16="http://schemas.microsoft.com/office/drawing/2014/main" id="{10A37ECF-8EA4-9A4C-9BBA-C2CCC914836F}"/>
              </a:ext>
            </a:extLst>
          </p:cNvPr>
          <p:cNvSpPr txBox="1"/>
          <p:nvPr userDrawn="1"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63" name="Tekstfelt 62">
            <a:extLst>
              <a:ext uri="{FF2B5EF4-FFF2-40B4-BE49-F238E27FC236}">
                <a16:creationId xmlns:a16="http://schemas.microsoft.com/office/drawing/2014/main" id="{C0285147-F36F-6E4B-8D30-FE13827972F9}"/>
              </a:ext>
            </a:extLst>
          </p:cNvPr>
          <p:cNvSpPr txBox="1">
            <a:spLocks/>
          </p:cNvSpPr>
          <p:nvPr userDrawn="1"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68" name="Tekstfelt 67">
            <a:extLst>
              <a:ext uri="{FF2B5EF4-FFF2-40B4-BE49-F238E27FC236}">
                <a16:creationId xmlns:a16="http://schemas.microsoft.com/office/drawing/2014/main" id="{30F27199-4B40-4547-85D3-E43BCD215714}"/>
              </a:ext>
            </a:extLst>
          </p:cNvPr>
          <p:cNvSpPr txBox="1"/>
          <p:nvPr userDrawn="1"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74" name="Tekstfelt 73">
            <a:extLst>
              <a:ext uri="{FF2B5EF4-FFF2-40B4-BE49-F238E27FC236}">
                <a16:creationId xmlns:a16="http://schemas.microsoft.com/office/drawing/2014/main" id="{113ED748-805E-984B-A11B-DF84122B0110}"/>
              </a:ext>
            </a:extLst>
          </p:cNvPr>
          <p:cNvSpPr txBox="1">
            <a:spLocks/>
          </p:cNvSpPr>
          <p:nvPr userDrawn="1"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79" name="Tekstfelt 78">
            <a:extLst>
              <a:ext uri="{FF2B5EF4-FFF2-40B4-BE49-F238E27FC236}">
                <a16:creationId xmlns:a16="http://schemas.microsoft.com/office/drawing/2014/main" id="{F8CE203C-F997-374A-A532-DEA89641ED55}"/>
              </a:ext>
            </a:extLst>
          </p:cNvPr>
          <p:cNvSpPr txBox="1">
            <a:spLocks/>
          </p:cNvSpPr>
          <p:nvPr userDrawn="1"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84" name="Tekstfelt 83">
            <a:extLst>
              <a:ext uri="{FF2B5EF4-FFF2-40B4-BE49-F238E27FC236}">
                <a16:creationId xmlns:a16="http://schemas.microsoft.com/office/drawing/2014/main" id="{F90BB633-9E10-C647-A4AA-A7A6BCC020DD}"/>
              </a:ext>
            </a:extLst>
          </p:cNvPr>
          <p:cNvSpPr txBox="1">
            <a:spLocks/>
          </p:cNvSpPr>
          <p:nvPr userDrawn="1"/>
        </p:nvSpPr>
        <p:spPr>
          <a:xfrm>
            <a:off x="14293807" y="5358147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89" name="Tekstfelt 88">
            <a:extLst>
              <a:ext uri="{FF2B5EF4-FFF2-40B4-BE49-F238E27FC236}">
                <a16:creationId xmlns:a16="http://schemas.microsoft.com/office/drawing/2014/main" id="{5833FFC8-7601-7A41-85CC-0E84F7C6CE6E}"/>
              </a:ext>
            </a:extLst>
          </p:cNvPr>
          <p:cNvSpPr txBox="1">
            <a:spLocks/>
          </p:cNvSpPr>
          <p:nvPr userDrawn="1"/>
        </p:nvSpPr>
        <p:spPr>
          <a:xfrm>
            <a:off x="14261041" y="6167047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90" name="Tekstfelt 89">
            <a:extLst>
              <a:ext uri="{FF2B5EF4-FFF2-40B4-BE49-F238E27FC236}">
                <a16:creationId xmlns:a16="http://schemas.microsoft.com/office/drawing/2014/main" id="{1225FEBF-068C-BB4C-9BE6-0F71FA2C8465}"/>
              </a:ext>
            </a:extLst>
          </p:cNvPr>
          <p:cNvSpPr txBox="1">
            <a:spLocks/>
          </p:cNvSpPr>
          <p:nvPr userDrawn="1"/>
        </p:nvSpPr>
        <p:spPr>
          <a:xfrm>
            <a:off x="15125120" y="6167047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91" name="Tekstfelt 90">
            <a:extLst>
              <a:ext uri="{FF2B5EF4-FFF2-40B4-BE49-F238E27FC236}">
                <a16:creationId xmlns:a16="http://schemas.microsoft.com/office/drawing/2014/main" id="{B753D3CC-CF69-5046-A5A1-E54CD77DAD18}"/>
              </a:ext>
            </a:extLst>
          </p:cNvPr>
          <p:cNvSpPr txBox="1">
            <a:spLocks/>
          </p:cNvSpPr>
          <p:nvPr userDrawn="1"/>
        </p:nvSpPr>
        <p:spPr>
          <a:xfrm>
            <a:off x="15963182" y="6167047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92" name="Tekstfelt 91">
            <a:extLst>
              <a:ext uri="{FF2B5EF4-FFF2-40B4-BE49-F238E27FC236}">
                <a16:creationId xmlns:a16="http://schemas.microsoft.com/office/drawing/2014/main" id="{2E155F9C-E7F4-B647-ABBA-58B26F054AEB}"/>
              </a:ext>
            </a:extLst>
          </p:cNvPr>
          <p:cNvSpPr txBox="1">
            <a:spLocks/>
          </p:cNvSpPr>
          <p:nvPr userDrawn="1"/>
        </p:nvSpPr>
        <p:spPr>
          <a:xfrm>
            <a:off x="16797078" y="6167047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93" name="Tekstfelt 92">
            <a:extLst>
              <a:ext uri="{FF2B5EF4-FFF2-40B4-BE49-F238E27FC236}">
                <a16:creationId xmlns:a16="http://schemas.microsoft.com/office/drawing/2014/main" id="{BD6FFA25-A778-A74A-A355-04902A9FBBBF}"/>
              </a:ext>
            </a:extLst>
          </p:cNvPr>
          <p:cNvSpPr txBox="1">
            <a:spLocks/>
          </p:cNvSpPr>
          <p:nvPr userDrawn="1"/>
        </p:nvSpPr>
        <p:spPr>
          <a:xfrm>
            <a:off x="17600218" y="6167047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sp>
        <p:nvSpPr>
          <p:cNvPr id="159" name="Subtitle 2">
            <a:extLst>
              <a:ext uri="{FF2B5EF4-FFF2-40B4-BE49-F238E27FC236}">
                <a16:creationId xmlns:a16="http://schemas.microsoft.com/office/drawing/2014/main" id="{91556786-F8FE-9C4F-A068-D29FE0F54714}"/>
              </a:ext>
            </a:extLst>
          </p:cNvPr>
          <p:cNvSpPr txBox="1">
            <a:spLocks/>
          </p:cNvSpPr>
          <p:nvPr userDrawn="1"/>
        </p:nvSpPr>
        <p:spPr>
          <a:xfrm>
            <a:off x="43566" y="630684"/>
            <a:ext cx="4754245" cy="4365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 spc="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MY" b="0" i="0">
              <a:latin typeface="Trebuchet MS" panose="020B0703020202090204" pitchFamily="34" charset="0"/>
            </a:endParaRPr>
          </a:p>
        </p:txBody>
      </p:sp>
      <p:sp>
        <p:nvSpPr>
          <p:cNvPr id="160" name="Title 1">
            <a:extLst>
              <a:ext uri="{FF2B5EF4-FFF2-40B4-BE49-F238E27FC236}">
                <a16:creationId xmlns:a16="http://schemas.microsoft.com/office/drawing/2014/main" id="{06FAB98D-93E6-7C43-AB13-CD7DFF27235A}"/>
              </a:ext>
            </a:extLst>
          </p:cNvPr>
          <p:cNvSpPr txBox="1">
            <a:spLocks/>
          </p:cNvSpPr>
          <p:nvPr userDrawn="1"/>
        </p:nvSpPr>
        <p:spPr>
          <a:xfrm>
            <a:off x="0" y="-37767"/>
            <a:ext cx="10515600" cy="886732"/>
          </a:xfrm>
          <a:prstGeom prst="rect">
            <a:avLst/>
          </a:prstGeom>
        </p:spPr>
        <p:txBody>
          <a:bodyPr vert="horz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0" i="0" kern="1200">
                <a:solidFill>
                  <a:schemeClr val="tx1"/>
                </a:solidFill>
                <a:latin typeface="Roboto" panose="02000000000000000000" pitchFamily="2" charset="0"/>
                <a:ea typeface="+mj-ea"/>
                <a:cs typeface="+mj-cs"/>
              </a:defRPr>
            </a:lvl1pPr>
          </a:lstStyle>
          <a:p>
            <a:endParaRPr lang="en-MY" sz="4000" b="0" i="0">
              <a:latin typeface="Trebuchet MS" panose="020B0703020202090204" pitchFamily="34" charset="0"/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5018B102-07B9-0845-950E-69D21111BD5E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  <p:pic>
        <p:nvPicPr>
          <p:cNvPr id="61" name="Picture 10" descr="Icon&#10;&#10;Description automatically generated">
            <a:extLst>
              <a:ext uri="{FF2B5EF4-FFF2-40B4-BE49-F238E27FC236}">
                <a16:creationId xmlns:a16="http://schemas.microsoft.com/office/drawing/2014/main" id="{AE213EDC-463E-604A-B44C-F8B02753243E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309460" y="257043"/>
            <a:ext cx="308932" cy="308932"/>
          </a:xfrm>
          <a:prstGeom prst="rect">
            <a:avLst/>
          </a:prstGeom>
        </p:spPr>
      </p:pic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357AAD4B-4C05-6D4A-AA83-0F56E72A8AB4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0" y="660095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GB"/>
              <a:t>Notes: Add disclaimers for people with good eyes   </a:t>
            </a:r>
            <a:endParaRPr lang="da-DK"/>
          </a:p>
          <a:p>
            <a:endParaRPr lang="da-DK"/>
          </a:p>
        </p:txBody>
      </p:sp>
      <p:grpSp>
        <p:nvGrpSpPr>
          <p:cNvPr id="62" name="Group 24">
            <a:extLst>
              <a:ext uri="{FF2B5EF4-FFF2-40B4-BE49-F238E27FC236}">
                <a16:creationId xmlns:a16="http://schemas.microsoft.com/office/drawing/2014/main" id="{FABACF59-0CD4-774E-AE9A-2263A0DA8E33}"/>
              </a:ext>
            </a:extLst>
          </p:cNvPr>
          <p:cNvGrpSpPr/>
          <p:nvPr userDrawn="1"/>
        </p:nvGrpSpPr>
        <p:grpSpPr>
          <a:xfrm>
            <a:off x="0" y="6800376"/>
            <a:ext cx="12192000" cy="68424"/>
            <a:chOff x="0" y="6197768"/>
            <a:chExt cx="12192000" cy="68424"/>
          </a:xfrm>
        </p:grpSpPr>
        <p:sp>
          <p:nvSpPr>
            <p:cNvPr id="73" name="Rectangle 25">
              <a:extLst>
                <a:ext uri="{FF2B5EF4-FFF2-40B4-BE49-F238E27FC236}">
                  <a16:creationId xmlns:a16="http://schemas.microsoft.com/office/drawing/2014/main" id="{3EAAEC60-5CE8-6843-B5B5-0D6F631492DA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b="0" i="0">
                <a:latin typeface="Trebuchet MS" panose="020B0703020202090204" pitchFamily="34" charset="0"/>
              </a:endParaRPr>
            </a:p>
          </p:txBody>
        </p:sp>
        <p:sp>
          <p:nvSpPr>
            <p:cNvPr id="94" name="Rectangle 26">
              <a:extLst>
                <a:ext uri="{FF2B5EF4-FFF2-40B4-BE49-F238E27FC236}">
                  <a16:creationId xmlns:a16="http://schemas.microsoft.com/office/drawing/2014/main" id="{0EED3615-4A24-E04A-AE08-18AF1FB9F6F2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b="0" i="0">
                <a:latin typeface="Trebuchet MS" panose="020B070302020209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0371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90" r:id="rId29"/>
    <p:sldLayoutId id="2147483691" r:id="rId30"/>
    <p:sldLayoutId id="2147483877" r:id="rId3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rgbClr val="000000"/>
          </a:solidFill>
          <a:latin typeface="Trebuchet MS" panose="020B070302020209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">
          <p15:clr>
            <a:srgbClr val="F26B43"/>
          </p15:clr>
        </p15:guide>
        <p15:guide id="2" pos="483">
          <p15:clr>
            <a:srgbClr val="F26B43"/>
          </p15:clr>
        </p15:guide>
        <p15:guide id="3" pos="960">
          <p15:clr>
            <a:srgbClr val="F26B43"/>
          </p15:clr>
        </p15:guide>
        <p15:guide id="4" pos="1436">
          <p15:clr>
            <a:srgbClr val="F26B43"/>
          </p15:clr>
        </p15:guide>
        <p15:guide id="5" pos="1896">
          <p15:clr>
            <a:srgbClr val="F26B43"/>
          </p15:clr>
        </p15:guide>
        <p15:guide id="6" pos="2389">
          <p15:clr>
            <a:srgbClr val="F26B43"/>
          </p15:clr>
        </p15:guide>
        <p15:guide id="7" pos="2865">
          <p15:clr>
            <a:srgbClr val="F26B43"/>
          </p15:clr>
        </p15:guide>
        <p15:guide id="8" pos="3341">
          <p15:clr>
            <a:srgbClr val="F26B43"/>
          </p15:clr>
        </p15:guide>
        <p15:guide id="9" pos="3817">
          <p15:clr>
            <a:srgbClr val="F26B43"/>
          </p15:clr>
        </p15:guide>
        <p15:guide id="10" pos="4294">
          <p15:clr>
            <a:srgbClr val="F26B43"/>
          </p15:clr>
        </p15:guide>
        <p15:guide id="11" pos="4770">
          <p15:clr>
            <a:srgbClr val="F26B43"/>
          </p15:clr>
        </p15:guide>
        <p15:guide id="12" pos="5246">
          <p15:clr>
            <a:srgbClr val="F26B43"/>
          </p15:clr>
        </p15:guide>
        <p15:guide id="13" pos="5722">
          <p15:clr>
            <a:srgbClr val="F26B43"/>
          </p15:clr>
        </p15:guide>
        <p15:guide id="14" pos="6199">
          <p15:clr>
            <a:srgbClr val="F26B43"/>
          </p15:clr>
        </p15:guide>
        <p15:guide id="15" pos="6675">
          <p15:clr>
            <a:srgbClr val="F26B43"/>
          </p15:clr>
        </p15:guide>
        <p15:guide id="16" pos="7151">
          <p15:clr>
            <a:srgbClr val="F26B43"/>
          </p15:clr>
        </p15:guide>
        <p15:guide id="17" pos="7650">
          <p15:clr>
            <a:srgbClr val="F26B43"/>
          </p15:clr>
        </p15:guide>
        <p15:guide id="18" orient="horz" pos="5">
          <p15:clr>
            <a:srgbClr val="F26B43"/>
          </p15:clr>
        </p15:guide>
        <p15:guide id="19" orient="horz" pos="482">
          <p15:clr>
            <a:srgbClr val="F26B43"/>
          </p15:clr>
        </p15:guide>
        <p15:guide id="20" orient="horz" pos="958">
          <p15:clr>
            <a:srgbClr val="F26B43"/>
          </p15:clr>
        </p15:guide>
        <p15:guide id="21" orient="horz" pos="1434">
          <p15:clr>
            <a:srgbClr val="F26B43"/>
          </p15:clr>
        </p15:guide>
        <p15:guide id="22" orient="horz" pos="1911">
          <p15:clr>
            <a:srgbClr val="F26B43"/>
          </p15:clr>
        </p15:guide>
        <p15:guide id="23" orient="horz" pos="2387">
          <p15:clr>
            <a:srgbClr val="F26B43"/>
          </p15:clr>
        </p15:guide>
        <p15:guide id="24" orient="horz" pos="2880">
          <p15:clr>
            <a:srgbClr val="F26B43"/>
          </p15:clr>
        </p15:guide>
        <p15:guide id="25" orient="horz" pos="3339">
          <p15:clr>
            <a:srgbClr val="F26B43"/>
          </p15:clr>
        </p15:guide>
        <p15:guide id="26" orient="horz" pos="3816">
          <p15:clr>
            <a:srgbClr val="F26B43"/>
          </p15:clr>
        </p15:guide>
        <p15:guide id="27" orient="horz" pos="429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554AE51-D925-F04F-A44D-237FFDAD3108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554AE51-D925-F04F-A44D-237FFDAD3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0" descr="Icon&#10;&#10;Description automatically generated">
            <a:extLst>
              <a:ext uri="{FF2B5EF4-FFF2-40B4-BE49-F238E27FC236}">
                <a16:creationId xmlns:a16="http://schemas.microsoft.com/office/drawing/2014/main" id="{C30E4D87-F985-BC47-A6F7-5A7AD3239A2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9460" y="257043"/>
            <a:ext cx="308932" cy="30893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286" y="192026"/>
            <a:ext cx="10515600" cy="4801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C30F0E-4007-8F48-A438-5E0FD11D241B}"/>
              </a:ext>
            </a:extLst>
          </p:cNvPr>
          <p:cNvGrpSpPr/>
          <p:nvPr/>
        </p:nvGrpSpPr>
        <p:grpSpPr>
          <a:xfrm>
            <a:off x="0" y="6800334"/>
            <a:ext cx="12192000" cy="68424"/>
            <a:chOff x="0" y="6197768"/>
            <a:chExt cx="12192000" cy="6842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A1EF291-1969-1C49-B805-91F4C35EFC4E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A12A725-70B6-AB45-ADC6-E382EA121639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</p:grp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1C2E613A-6673-5C41-A42D-FFE18EC77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21343" y="5433377"/>
            <a:ext cx="2743200" cy="15979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8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ea typeface="Roboto" panose="02000000000000000000" pitchFamily="2" charset="0"/>
              </a:defRPr>
            </a:lvl1pPr>
          </a:lstStyle>
          <a:p>
            <a:pPr algn="r"/>
            <a:r>
              <a:rPr lang="en-GB"/>
              <a:t>Page </a:t>
            </a:r>
            <a:fld id="{03D99B62-048C-4CCE-9216-957B53D525C7}" type="slidenum">
              <a:rPr smtClean="0"/>
              <a:pPr algn="r"/>
              <a:t>‹nr.›</a:t>
            </a:fld>
            <a:endParaRPr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C4E122-870C-0363-BB25-5B6E610B4293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C4E122-870C-0363-BB25-5B6E610B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41333714-7799-67D6-E4D0-E297AB3E21D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9460" y="257043"/>
            <a:ext cx="308932" cy="30893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CFB9FA9F-9EE9-5B72-C858-875A01C4779C}"/>
              </a:ext>
            </a:extLst>
          </p:cNvPr>
          <p:cNvGrpSpPr/>
          <p:nvPr/>
        </p:nvGrpSpPr>
        <p:grpSpPr>
          <a:xfrm>
            <a:off x="0" y="6800334"/>
            <a:ext cx="12192000" cy="68424"/>
            <a:chOff x="0" y="6197768"/>
            <a:chExt cx="12192000" cy="6842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1D556C2-E1D4-6E6D-7077-084256C3318D}"/>
                </a:ext>
              </a:extLst>
            </p:cNvPr>
            <p:cNvSpPr/>
            <p:nvPr/>
          </p:nvSpPr>
          <p:spPr>
            <a:xfrm>
              <a:off x="0" y="6197768"/>
              <a:ext cx="12192000" cy="68424"/>
            </a:xfrm>
            <a:prstGeom prst="rect">
              <a:avLst/>
            </a:prstGeom>
            <a:solidFill>
              <a:srgbClr val="F3D1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4B907F2-06D0-74F8-133A-CFEAF9E65628}"/>
                </a:ext>
              </a:extLst>
            </p:cNvPr>
            <p:cNvSpPr/>
            <p:nvPr/>
          </p:nvSpPr>
          <p:spPr>
            <a:xfrm>
              <a:off x="8980153" y="6197768"/>
              <a:ext cx="3210535" cy="68424"/>
            </a:xfrm>
            <a:prstGeom prst="rect">
              <a:avLst/>
            </a:prstGeom>
            <a:solidFill>
              <a:srgbClr val="23272A">
                <a:alpha val="8627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>
                <a:latin typeface="Trebuchet MS" panose="020B0603020202020204" pitchFamily="34" charset="0"/>
              </a:endParaRPr>
            </a:p>
          </p:txBody>
        </p:sp>
      </p:grpSp>
      <p:sp>
        <p:nvSpPr>
          <p:cNvPr id="40" name="Slide Number Placeholder 5">
            <a:extLst>
              <a:ext uri="{FF2B5EF4-FFF2-40B4-BE49-F238E27FC236}">
                <a16:creationId xmlns:a16="http://schemas.microsoft.com/office/drawing/2014/main" id="{E83D6A5F-20D1-FA86-6B57-E9C0AECCE3E1}"/>
              </a:ext>
            </a:extLst>
          </p:cNvPr>
          <p:cNvSpPr txBox="1">
            <a:spLocks/>
          </p:cNvSpPr>
          <p:nvPr/>
        </p:nvSpPr>
        <p:spPr>
          <a:xfrm>
            <a:off x="9121343" y="6591864"/>
            <a:ext cx="2743200" cy="16459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DK"/>
            </a:defPPr>
            <a:lvl1pPr marL="0" algn="l" defTabSz="914400" rtl="0" eaLnBrk="1" latinLnBrk="0" hangingPunct="1">
              <a:defRPr lang="en-US" sz="8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ea typeface="Roboto" panose="02000000000000000000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/>
              <a:t>Page </a:t>
            </a:r>
            <a:fld id="{03D99B62-048C-4CCE-9216-957B53D525C7}" type="slidenum">
              <a:rPr smtClean="0"/>
              <a:pPr algn="r"/>
              <a:t>‹nr.›</a:t>
            </a:fld>
            <a:endParaRPr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2331450F-3F7F-C043-E5FE-58D850283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1286" y="6591864"/>
            <a:ext cx="4114800" cy="1645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a-DK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A3CCE3A5-D8C5-45F2-1D60-75524FA68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286" y="1453166"/>
            <a:ext cx="10663952" cy="4388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pic>
        <p:nvPicPr>
          <p:cNvPr id="4" name="Picture 9">
            <a:extLst>
              <a:ext uri="{FF2B5EF4-FFF2-40B4-BE49-F238E27FC236}">
                <a16:creationId xmlns:a16="http://schemas.microsoft.com/office/drawing/2014/main" id="{2E2F7A9A-91AB-E0F4-2A88-62BE878D529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/>
        </p:blipFill>
        <p:spPr>
          <a:xfrm>
            <a:off x="12460106" y="0"/>
            <a:ext cx="6290910" cy="6858000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4579680E-B8A3-B4BD-8D88-4E8BF4E6252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/>
        </p:blipFill>
        <p:spPr>
          <a:xfrm>
            <a:off x="18918823" y="0"/>
            <a:ext cx="4164033" cy="6868800"/>
          </a:xfrm>
          <a:prstGeom prst="rect">
            <a:avLst/>
          </a:prstGeom>
        </p:spPr>
      </p:pic>
      <p:sp>
        <p:nvSpPr>
          <p:cNvPr id="10" name="Rektangel 35">
            <a:extLst>
              <a:ext uri="{FF2B5EF4-FFF2-40B4-BE49-F238E27FC236}">
                <a16:creationId xmlns:a16="http://schemas.microsoft.com/office/drawing/2014/main" id="{65A23027-D1CF-0888-757C-38C07B5FF992}"/>
              </a:ext>
            </a:extLst>
          </p:cNvPr>
          <p:cNvSpPr/>
          <p:nvPr/>
        </p:nvSpPr>
        <p:spPr>
          <a:xfrm>
            <a:off x="12986401" y="1295717"/>
            <a:ext cx="651038" cy="194914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D8D9D8</a:t>
            </a:r>
          </a:p>
        </p:txBody>
      </p:sp>
      <p:sp>
        <p:nvSpPr>
          <p:cNvPr id="16" name="Rektangel 36">
            <a:extLst>
              <a:ext uri="{FF2B5EF4-FFF2-40B4-BE49-F238E27FC236}">
                <a16:creationId xmlns:a16="http://schemas.microsoft.com/office/drawing/2014/main" id="{67A1160E-0051-0FA7-D321-C91F26C8F791}"/>
              </a:ext>
            </a:extLst>
          </p:cNvPr>
          <p:cNvSpPr/>
          <p:nvPr/>
        </p:nvSpPr>
        <p:spPr>
          <a:xfrm>
            <a:off x="12986401" y="2081222"/>
            <a:ext cx="558746" cy="194914"/>
          </a:xfrm>
          <a:prstGeom prst="rect">
            <a:avLst/>
          </a:prstGeom>
        </p:spPr>
        <p:txBody>
          <a:bodyPr wrap="none" lIns="90000">
            <a:spAutoFit/>
          </a:bodyPr>
          <a:lstStyle/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959595</a:t>
            </a:r>
          </a:p>
        </p:txBody>
      </p:sp>
      <p:sp>
        <p:nvSpPr>
          <p:cNvPr id="17" name="Tekstfelt 37">
            <a:extLst>
              <a:ext uri="{FF2B5EF4-FFF2-40B4-BE49-F238E27FC236}">
                <a16:creationId xmlns:a16="http://schemas.microsoft.com/office/drawing/2014/main" id="{5DF28A5D-4026-E07D-38C9-1EE4530AD053}"/>
              </a:ext>
            </a:extLst>
          </p:cNvPr>
          <p:cNvSpPr txBox="1"/>
          <p:nvPr/>
        </p:nvSpPr>
        <p:spPr>
          <a:xfrm>
            <a:off x="12986401" y="2757526"/>
            <a:ext cx="651038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  <a:p>
            <a:pPr algn="just"/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576480</a:t>
            </a:r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19" name="Tekstfelt 38">
            <a:extLst>
              <a:ext uri="{FF2B5EF4-FFF2-40B4-BE49-F238E27FC236}">
                <a16:creationId xmlns:a16="http://schemas.microsoft.com/office/drawing/2014/main" id="{D4F33FFC-7976-B25D-512E-FD06679C9B55}"/>
              </a:ext>
            </a:extLst>
          </p:cNvPr>
          <p:cNvSpPr txBox="1"/>
          <p:nvPr/>
        </p:nvSpPr>
        <p:spPr>
          <a:xfrm flipH="1">
            <a:off x="12986401" y="3704219"/>
            <a:ext cx="64351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ABC7B7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0" name="Tekstfelt 39">
            <a:extLst>
              <a:ext uri="{FF2B5EF4-FFF2-40B4-BE49-F238E27FC236}">
                <a16:creationId xmlns:a16="http://schemas.microsoft.com/office/drawing/2014/main" id="{A45DBD7C-3F7E-100F-35CB-E5E5BC91D940}"/>
              </a:ext>
            </a:extLst>
          </p:cNvPr>
          <p:cNvSpPr txBox="1"/>
          <p:nvPr/>
        </p:nvSpPr>
        <p:spPr>
          <a:xfrm>
            <a:off x="12986401" y="4517920"/>
            <a:ext cx="651037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EBA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1" name="Tekstfelt 40">
            <a:extLst>
              <a:ext uri="{FF2B5EF4-FFF2-40B4-BE49-F238E27FC236}">
                <a16:creationId xmlns:a16="http://schemas.microsoft.com/office/drawing/2014/main" id="{0C0179A4-590E-F820-DDE2-1FC7D7019543}"/>
              </a:ext>
            </a:extLst>
          </p:cNvPr>
          <p:cNvSpPr txBox="1"/>
          <p:nvPr/>
        </p:nvSpPr>
        <p:spPr>
          <a:xfrm>
            <a:off x="12986401" y="5333979"/>
            <a:ext cx="656322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EDD2DF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2" name="Tekstfelt 41">
            <a:extLst>
              <a:ext uri="{FF2B5EF4-FFF2-40B4-BE49-F238E27FC236}">
                <a16:creationId xmlns:a16="http://schemas.microsoft.com/office/drawing/2014/main" id="{018BFECC-2081-E93D-28FF-423723513D10}"/>
              </a:ext>
            </a:extLst>
          </p:cNvPr>
          <p:cNvSpPr txBox="1"/>
          <p:nvPr/>
        </p:nvSpPr>
        <p:spPr>
          <a:xfrm>
            <a:off x="12986401" y="6132605"/>
            <a:ext cx="637463" cy="306293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>
                <a:latin typeface="Trebuchet MS" panose="020B0703020202090204" pitchFamily="34" charset="0"/>
                <a:ea typeface="Roboto" panose="02000000000000000000" pitchFamily="2" charset="0"/>
              </a:rPr>
              <a:t>#FA7B7B</a:t>
            </a:r>
          </a:p>
          <a:p>
            <a:pPr algn="just"/>
            <a:endParaRPr lang="da-DK" sz="800" b="0" i="0">
              <a:latin typeface="Trebuchet MS" panose="020B0703020202090204" pitchFamily="34" charset="0"/>
              <a:ea typeface="Roboto" panose="02000000000000000000" pitchFamily="2" charset="0"/>
            </a:endParaRPr>
          </a:p>
        </p:txBody>
      </p:sp>
      <p:sp>
        <p:nvSpPr>
          <p:cNvPr id="23" name="Tekstfelt 54">
            <a:extLst>
              <a:ext uri="{FF2B5EF4-FFF2-40B4-BE49-F238E27FC236}">
                <a16:creationId xmlns:a16="http://schemas.microsoft.com/office/drawing/2014/main" id="{23FA075B-139E-AA53-9A2E-A50E080ADABD}"/>
              </a:ext>
            </a:extLst>
          </p:cNvPr>
          <p:cNvSpPr txBox="1"/>
          <p:nvPr/>
        </p:nvSpPr>
        <p:spPr>
          <a:xfrm>
            <a:off x="15157728" y="1331974"/>
            <a:ext cx="480738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FE1DF</a:t>
            </a:r>
          </a:p>
        </p:txBody>
      </p:sp>
      <p:sp>
        <p:nvSpPr>
          <p:cNvPr id="24" name="Tekstfelt 55">
            <a:extLst>
              <a:ext uri="{FF2B5EF4-FFF2-40B4-BE49-F238E27FC236}">
                <a16:creationId xmlns:a16="http://schemas.microsoft.com/office/drawing/2014/main" id="{388B9F54-0CBF-CE02-2D68-D2CE25BC2329}"/>
              </a:ext>
            </a:extLst>
          </p:cNvPr>
          <p:cNvSpPr txBox="1"/>
          <p:nvPr/>
        </p:nvSpPr>
        <p:spPr>
          <a:xfrm>
            <a:off x="16003730" y="1331974"/>
            <a:ext cx="462599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2E4E2</a:t>
            </a:r>
          </a:p>
        </p:txBody>
      </p:sp>
      <p:sp>
        <p:nvSpPr>
          <p:cNvPr id="29" name="Tekstfelt 56">
            <a:extLst>
              <a:ext uri="{FF2B5EF4-FFF2-40B4-BE49-F238E27FC236}">
                <a16:creationId xmlns:a16="http://schemas.microsoft.com/office/drawing/2014/main" id="{DEDA7071-98EB-38D0-6421-8A2B79D7F8F7}"/>
              </a:ext>
            </a:extLst>
          </p:cNvPr>
          <p:cNvSpPr txBox="1">
            <a:spLocks/>
          </p:cNvSpPr>
          <p:nvPr/>
        </p:nvSpPr>
        <p:spPr>
          <a:xfrm>
            <a:off x="16821395" y="1331974"/>
            <a:ext cx="48799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ECEB</a:t>
            </a:r>
          </a:p>
        </p:txBody>
      </p:sp>
      <p:sp>
        <p:nvSpPr>
          <p:cNvPr id="30" name="Tekstfelt 57">
            <a:extLst>
              <a:ext uri="{FF2B5EF4-FFF2-40B4-BE49-F238E27FC236}">
                <a16:creationId xmlns:a16="http://schemas.microsoft.com/office/drawing/2014/main" id="{2BFA3F44-9234-DC96-E452-C8D9D7811CDA}"/>
              </a:ext>
            </a:extLst>
          </p:cNvPr>
          <p:cNvSpPr txBox="1">
            <a:spLocks/>
          </p:cNvSpPr>
          <p:nvPr/>
        </p:nvSpPr>
        <p:spPr>
          <a:xfrm>
            <a:off x="17543437" y="1331974"/>
            <a:ext cx="659175" cy="12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3F3F3</a:t>
            </a:r>
          </a:p>
        </p:txBody>
      </p:sp>
      <p:sp>
        <p:nvSpPr>
          <p:cNvPr id="31" name="Tekstfelt 63">
            <a:extLst>
              <a:ext uri="{FF2B5EF4-FFF2-40B4-BE49-F238E27FC236}">
                <a16:creationId xmlns:a16="http://schemas.microsoft.com/office/drawing/2014/main" id="{B0E01D2E-D644-C6DD-79C8-FB367DE96565}"/>
              </a:ext>
            </a:extLst>
          </p:cNvPr>
          <p:cNvSpPr txBox="1">
            <a:spLocks/>
          </p:cNvSpPr>
          <p:nvPr/>
        </p:nvSpPr>
        <p:spPr>
          <a:xfrm flipH="1">
            <a:off x="15120509" y="2070957"/>
            <a:ext cx="58892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9AAA9</a:t>
            </a:r>
          </a:p>
        </p:txBody>
      </p:sp>
      <p:sp>
        <p:nvSpPr>
          <p:cNvPr id="32" name="Tekstfelt 64">
            <a:extLst>
              <a:ext uri="{FF2B5EF4-FFF2-40B4-BE49-F238E27FC236}">
                <a16:creationId xmlns:a16="http://schemas.microsoft.com/office/drawing/2014/main" id="{A60E085D-E3B5-E31C-6349-0DB184076BFC}"/>
              </a:ext>
            </a:extLst>
          </p:cNvPr>
          <p:cNvSpPr txBox="1">
            <a:spLocks/>
          </p:cNvSpPr>
          <p:nvPr/>
        </p:nvSpPr>
        <p:spPr>
          <a:xfrm flipH="1">
            <a:off x="15965459" y="2070957"/>
            <a:ext cx="572891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3B4B4</a:t>
            </a:r>
          </a:p>
        </p:txBody>
      </p:sp>
      <p:sp>
        <p:nvSpPr>
          <p:cNvPr id="33" name="Tekstfelt 65">
            <a:extLst>
              <a:ext uri="{FF2B5EF4-FFF2-40B4-BE49-F238E27FC236}">
                <a16:creationId xmlns:a16="http://schemas.microsoft.com/office/drawing/2014/main" id="{8B20D96F-D62B-4140-3AEC-85F012C7F635}"/>
              </a:ext>
            </a:extLst>
          </p:cNvPr>
          <p:cNvSpPr txBox="1">
            <a:spLocks/>
          </p:cNvSpPr>
          <p:nvPr/>
        </p:nvSpPr>
        <p:spPr>
          <a:xfrm flipH="1">
            <a:off x="16781395" y="2070957"/>
            <a:ext cx="601745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ACACA</a:t>
            </a:r>
          </a:p>
        </p:txBody>
      </p:sp>
      <p:sp>
        <p:nvSpPr>
          <p:cNvPr id="34" name="Tekstfelt 66">
            <a:extLst>
              <a:ext uri="{FF2B5EF4-FFF2-40B4-BE49-F238E27FC236}">
                <a16:creationId xmlns:a16="http://schemas.microsoft.com/office/drawing/2014/main" id="{6465B942-76ED-2FD7-3557-636B78458CE6}"/>
              </a:ext>
            </a:extLst>
          </p:cNvPr>
          <p:cNvSpPr txBox="1">
            <a:spLocks/>
          </p:cNvSpPr>
          <p:nvPr/>
        </p:nvSpPr>
        <p:spPr>
          <a:xfrm flipH="1">
            <a:off x="17596242" y="2070957"/>
            <a:ext cx="587318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solidFill>
                  <a:srgbClr val="000000"/>
                </a:solidFill>
                <a:latin typeface="Trebuchet MS" panose="020B0703020202090204" pitchFamily="34" charset="0"/>
                <a:ea typeface="Roboto" panose="02000000000000000000" pitchFamily="2" charset="0"/>
              </a:rPr>
              <a:t>#DEDFDF</a:t>
            </a:r>
          </a:p>
        </p:txBody>
      </p:sp>
      <p:sp>
        <p:nvSpPr>
          <p:cNvPr id="35" name="Tekstfelt 68">
            <a:extLst>
              <a:ext uri="{FF2B5EF4-FFF2-40B4-BE49-F238E27FC236}">
                <a16:creationId xmlns:a16="http://schemas.microsoft.com/office/drawing/2014/main" id="{6AAA419E-A1E0-640E-1F41-E1C02EF0188C}"/>
              </a:ext>
            </a:extLst>
          </p:cNvPr>
          <p:cNvSpPr txBox="1"/>
          <p:nvPr/>
        </p:nvSpPr>
        <p:spPr>
          <a:xfrm>
            <a:off x="15124447" y="2867088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788399</a:t>
            </a:r>
          </a:p>
        </p:txBody>
      </p:sp>
      <p:sp>
        <p:nvSpPr>
          <p:cNvPr id="36" name="Tekstfelt 69">
            <a:extLst>
              <a:ext uri="{FF2B5EF4-FFF2-40B4-BE49-F238E27FC236}">
                <a16:creationId xmlns:a16="http://schemas.microsoft.com/office/drawing/2014/main" id="{1927CB87-60D7-DF4B-8580-E6D076EFD42A}"/>
              </a:ext>
            </a:extLst>
          </p:cNvPr>
          <p:cNvSpPr txBox="1"/>
          <p:nvPr/>
        </p:nvSpPr>
        <p:spPr>
          <a:xfrm>
            <a:off x="15960747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8993A5</a:t>
            </a:r>
          </a:p>
        </p:txBody>
      </p:sp>
      <p:sp>
        <p:nvSpPr>
          <p:cNvPr id="37" name="Tekstfelt 70">
            <a:extLst>
              <a:ext uri="{FF2B5EF4-FFF2-40B4-BE49-F238E27FC236}">
                <a16:creationId xmlns:a16="http://schemas.microsoft.com/office/drawing/2014/main" id="{94DC0035-87B4-B559-35A8-9491A1BB3174}"/>
              </a:ext>
            </a:extLst>
          </p:cNvPr>
          <p:cNvSpPr txBox="1"/>
          <p:nvPr/>
        </p:nvSpPr>
        <p:spPr>
          <a:xfrm>
            <a:off x="16788854" y="2867088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ABB2BF</a:t>
            </a:r>
          </a:p>
        </p:txBody>
      </p:sp>
      <p:sp>
        <p:nvSpPr>
          <p:cNvPr id="38" name="Tekstfelt 71">
            <a:extLst>
              <a:ext uri="{FF2B5EF4-FFF2-40B4-BE49-F238E27FC236}">
                <a16:creationId xmlns:a16="http://schemas.microsoft.com/office/drawing/2014/main" id="{AFA82DD4-2FF2-7F01-0479-9C4882270B20}"/>
              </a:ext>
            </a:extLst>
          </p:cNvPr>
          <p:cNvSpPr txBox="1"/>
          <p:nvPr/>
        </p:nvSpPr>
        <p:spPr>
          <a:xfrm>
            <a:off x="17592556" y="28670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CD0D8</a:t>
            </a:r>
          </a:p>
        </p:txBody>
      </p:sp>
      <p:sp>
        <p:nvSpPr>
          <p:cNvPr id="39" name="Tekstfelt 74">
            <a:extLst>
              <a:ext uri="{FF2B5EF4-FFF2-40B4-BE49-F238E27FC236}">
                <a16:creationId xmlns:a16="http://schemas.microsoft.com/office/drawing/2014/main" id="{A8988961-0FC6-3EB6-6E07-B764A0B9B173}"/>
              </a:ext>
            </a:extLst>
          </p:cNvPr>
          <p:cNvSpPr txBox="1">
            <a:spLocks/>
          </p:cNvSpPr>
          <p:nvPr/>
        </p:nvSpPr>
        <p:spPr>
          <a:xfrm>
            <a:off x="15116794" y="3718113"/>
            <a:ext cx="5870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BD2C5</a:t>
            </a:r>
          </a:p>
        </p:txBody>
      </p:sp>
      <p:sp>
        <p:nvSpPr>
          <p:cNvPr id="41" name="Tekstfelt 75">
            <a:extLst>
              <a:ext uri="{FF2B5EF4-FFF2-40B4-BE49-F238E27FC236}">
                <a16:creationId xmlns:a16="http://schemas.microsoft.com/office/drawing/2014/main" id="{F297C7E9-8731-B4C2-5456-A5316C98421A}"/>
              </a:ext>
            </a:extLst>
          </p:cNvPr>
          <p:cNvSpPr txBox="1">
            <a:spLocks/>
          </p:cNvSpPr>
          <p:nvPr/>
        </p:nvSpPr>
        <p:spPr>
          <a:xfrm>
            <a:off x="15947082" y="3718113"/>
            <a:ext cx="5934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C5D7CC</a:t>
            </a:r>
          </a:p>
        </p:txBody>
      </p:sp>
      <p:sp>
        <p:nvSpPr>
          <p:cNvPr id="42" name="Tekstfelt 76">
            <a:extLst>
              <a:ext uri="{FF2B5EF4-FFF2-40B4-BE49-F238E27FC236}">
                <a16:creationId xmlns:a16="http://schemas.microsoft.com/office/drawing/2014/main" id="{D6D7A3E7-74F1-4DBF-8A0C-1770445FAF0D}"/>
              </a:ext>
            </a:extLst>
          </p:cNvPr>
          <p:cNvSpPr txBox="1">
            <a:spLocks/>
          </p:cNvSpPr>
          <p:nvPr/>
        </p:nvSpPr>
        <p:spPr>
          <a:xfrm>
            <a:off x="16778040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4E2DB</a:t>
            </a:r>
          </a:p>
        </p:txBody>
      </p:sp>
      <p:sp>
        <p:nvSpPr>
          <p:cNvPr id="44" name="Tekstfelt 77">
            <a:extLst>
              <a:ext uri="{FF2B5EF4-FFF2-40B4-BE49-F238E27FC236}">
                <a16:creationId xmlns:a16="http://schemas.microsoft.com/office/drawing/2014/main" id="{E3144962-33C9-A471-7671-674DD136C0F9}"/>
              </a:ext>
            </a:extLst>
          </p:cNvPr>
          <p:cNvSpPr txBox="1">
            <a:spLocks/>
          </p:cNvSpPr>
          <p:nvPr/>
        </p:nvSpPr>
        <p:spPr>
          <a:xfrm>
            <a:off x="17591972" y="371811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6EEE9</a:t>
            </a:r>
          </a:p>
        </p:txBody>
      </p:sp>
      <p:sp>
        <p:nvSpPr>
          <p:cNvPr id="46" name="Tekstfelt 79">
            <a:extLst>
              <a:ext uri="{FF2B5EF4-FFF2-40B4-BE49-F238E27FC236}">
                <a16:creationId xmlns:a16="http://schemas.microsoft.com/office/drawing/2014/main" id="{EDD4F709-20D6-17FC-9AA1-0E26B5488589}"/>
              </a:ext>
            </a:extLst>
          </p:cNvPr>
          <p:cNvSpPr txBox="1">
            <a:spLocks/>
          </p:cNvSpPr>
          <p:nvPr/>
        </p:nvSpPr>
        <p:spPr>
          <a:xfrm>
            <a:off x="15125407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FE4C8</a:t>
            </a:r>
          </a:p>
        </p:txBody>
      </p:sp>
      <p:sp>
        <p:nvSpPr>
          <p:cNvPr id="47" name="Tekstfelt 80">
            <a:extLst>
              <a:ext uri="{FF2B5EF4-FFF2-40B4-BE49-F238E27FC236}">
                <a16:creationId xmlns:a16="http://schemas.microsoft.com/office/drawing/2014/main" id="{20113F8F-C002-0647-1E71-8488117F09C1}"/>
              </a:ext>
            </a:extLst>
          </p:cNvPr>
          <p:cNvSpPr txBox="1">
            <a:spLocks/>
          </p:cNvSpPr>
          <p:nvPr/>
        </p:nvSpPr>
        <p:spPr>
          <a:xfrm>
            <a:off x="15959918" y="4531814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0E7CE</a:t>
            </a:r>
          </a:p>
        </p:txBody>
      </p:sp>
      <p:sp>
        <p:nvSpPr>
          <p:cNvPr id="48" name="Tekstfelt 81">
            <a:extLst>
              <a:ext uri="{FF2B5EF4-FFF2-40B4-BE49-F238E27FC236}">
                <a16:creationId xmlns:a16="http://schemas.microsoft.com/office/drawing/2014/main" id="{C5AA0B9C-D305-2771-414E-A60CC0D48ABA}"/>
              </a:ext>
            </a:extLst>
          </p:cNvPr>
          <p:cNvSpPr txBox="1">
            <a:spLocks/>
          </p:cNvSpPr>
          <p:nvPr/>
        </p:nvSpPr>
        <p:spPr>
          <a:xfrm>
            <a:off x="16783871" y="4531814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5EEDC</a:t>
            </a:r>
          </a:p>
        </p:txBody>
      </p:sp>
      <p:sp>
        <p:nvSpPr>
          <p:cNvPr id="49" name="Tekstfelt 82">
            <a:extLst>
              <a:ext uri="{FF2B5EF4-FFF2-40B4-BE49-F238E27FC236}">
                <a16:creationId xmlns:a16="http://schemas.microsoft.com/office/drawing/2014/main" id="{D504E94C-FD45-E013-E06D-29D70071D249}"/>
              </a:ext>
            </a:extLst>
          </p:cNvPr>
          <p:cNvSpPr txBox="1">
            <a:spLocks/>
          </p:cNvSpPr>
          <p:nvPr/>
        </p:nvSpPr>
        <p:spPr>
          <a:xfrm>
            <a:off x="17594776" y="4531814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8F4EB</a:t>
            </a:r>
          </a:p>
        </p:txBody>
      </p:sp>
      <p:sp>
        <p:nvSpPr>
          <p:cNvPr id="50" name="Tekstfelt 84">
            <a:extLst>
              <a:ext uri="{FF2B5EF4-FFF2-40B4-BE49-F238E27FC236}">
                <a16:creationId xmlns:a16="http://schemas.microsoft.com/office/drawing/2014/main" id="{9BB225DA-4175-AE7D-3591-9ED2D69ABACF}"/>
              </a:ext>
            </a:extLst>
          </p:cNvPr>
          <p:cNvSpPr txBox="1">
            <a:spLocks/>
          </p:cNvSpPr>
          <p:nvPr/>
        </p:nvSpPr>
        <p:spPr>
          <a:xfrm>
            <a:off x="15122758" y="534787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1DBE6</a:t>
            </a:r>
          </a:p>
        </p:txBody>
      </p:sp>
      <p:sp>
        <p:nvSpPr>
          <p:cNvPr id="51" name="Tekstfelt 85">
            <a:extLst>
              <a:ext uri="{FF2B5EF4-FFF2-40B4-BE49-F238E27FC236}">
                <a16:creationId xmlns:a16="http://schemas.microsoft.com/office/drawing/2014/main" id="{384D6C44-7106-54F3-CE59-735D209F3140}"/>
              </a:ext>
            </a:extLst>
          </p:cNvPr>
          <p:cNvSpPr txBox="1">
            <a:spLocks/>
          </p:cNvSpPr>
          <p:nvPr/>
        </p:nvSpPr>
        <p:spPr>
          <a:xfrm>
            <a:off x="15958703" y="5347873"/>
            <a:ext cx="5741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DFE8</a:t>
            </a:r>
          </a:p>
        </p:txBody>
      </p:sp>
      <p:sp>
        <p:nvSpPr>
          <p:cNvPr id="52" name="Tekstfelt 86">
            <a:extLst>
              <a:ext uri="{FF2B5EF4-FFF2-40B4-BE49-F238E27FC236}">
                <a16:creationId xmlns:a16="http://schemas.microsoft.com/office/drawing/2014/main" id="{50AA22AF-7D4A-3B4E-2E4D-BB2C34508134}"/>
              </a:ext>
            </a:extLst>
          </p:cNvPr>
          <p:cNvSpPr txBox="1">
            <a:spLocks/>
          </p:cNvSpPr>
          <p:nvPr/>
        </p:nvSpPr>
        <p:spPr>
          <a:xfrm>
            <a:off x="16790503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6E9EF</a:t>
            </a:r>
          </a:p>
        </p:txBody>
      </p:sp>
      <p:sp>
        <p:nvSpPr>
          <p:cNvPr id="53" name="Tekstfelt 87">
            <a:extLst>
              <a:ext uri="{FF2B5EF4-FFF2-40B4-BE49-F238E27FC236}">
                <a16:creationId xmlns:a16="http://schemas.microsoft.com/office/drawing/2014/main" id="{FE1470DE-E8FD-3812-11BD-70A77EB18C21}"/>
              </a:ext>
            </a:extLst>
          </p:cNvPr>
          <p:cNvSpPr txBox="1">
            <a:spLocks/>
          </p:cNvSpPr>
          <p:nvPr/>
        </p:nvSpPr>
        <p:spPr>
          <a:xfrm>
            <a:off x="17595634" y="5347873"/>
            <a:ext cx="5661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9F1F5</a:t>
            </a:r>
          </a:p>
        </p:txBody>
      </p:sp>
      <p:sp>
        <p:nvSpPr>
          <p:cNvPr id="54" name="Tekstfelt 47">
            <a:extLst>
              <a:ext uri="{FF2B5EF4-FFF2-40B4-BE49-F238E27FC236}">
                <a16:creationId xmlns:a16="http://schemas.microsoft.com/office/drawing/2014/main" id="{4FBA3CA8-BAB2-364B-2FBE-7F145FCD12ED}"/>
              </a:ext>
            </a:extLst>
          </p:cNvPr>
          <p:cNvSpPr txBox="1"/>
          <p:nvPr/>
        </p:nvSpPr>
        <p:spPr>
          <a:xfrm>
            <a:off x="14242612" y="1331962"/>
            <a:ext cx="659175" cy="12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DBDCDB</a:t>
            </a:r>
          </a:p>
        </p:txBody>
      </p:sp>
      <p:sp>
        <p:nvSpPr>
          <p:cNvPr id="55" name="Tekstfelt 62">
            <a:extLst>
              <a:ext uri="{FF2B5EF4-FFF2-40B4-BE49-F238E27FC236}">
                <a16:creationId xmlns:a16="http://schemas.microsoft.com/office/drawing/2014/main" id="{30DC0771-4DF5-4B7B-3C14-CFCEA1A058AF}"/>
              </a:ext>
            </a:extLst>
          </p:cNvPr>
          <p:cNvSpPr txBox="1">
            <a:spLocks/>
          </p:cNvSpPr>
          <p:nvPr/>
        </p:nvSpPr>
        <p:spPr>
          <a:xfrm flipH="1">
            <a:off x="14307436" y="2070957"/>
            <a:ext cx="563273" cy="215444"/>
          </a:xfrm>
          <a:prstGeom prst="rect">
            <a:avLst/>
          </a:prstGeom>
          <a:noFill/>
        </p:spPr>
        <p:txBody>
          <a:bodyPr wrap="none" lIns="90000" rIns="90000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9F9F9F</a:t>
            </a:r>
          </a:p>
        </p:txBody>
      </p:sp>
      <p:sp>
        <p:nvSpPr>
          <p:cNvPr id="56" name="Tekstfelt 67">
            <a:extLst>
              <a:ext uri="{FF2B5EF4-FFF2-40B4-BE49-F238E27FC236}">
                <a16:creationId xmlns:a16="http://schemas.microsoft.com/office/drawing/2014/main" id="{A8E3C6A4-A884-07A8-3622-3515735FF6E0}"/>
              </a:ext>
            </a:extLst>
          </p:cNvPr>
          <p:cNvSpPr txBox="1"/>
          <p:nvPr/>
        </p:nvSpPr>
        <p:spPr>
          <a:xfrm>
            <a:off x="14292806" y="2867088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67738C</a:t>
            </a:r>
          </a:p>
        </p:txBody>
      </p:sp>
      <p:sp>
        <p:nvSpPr>
          <p:cNvPr id="57" name="Tekstfelt 73">
            <a:extLst>
              <a:ext uri="{FF2B5EF4-FFF2-40B4-BE49-F238E27FC236}">
                <a16:creationId xmlns:a16="http://schemas.microsoft.com/office/drawing/2014/main" id="{FD9118E5-69CD-56BE-54CE-0052B1C9C29C}"/>
              </a:ext>
            </a:extLst>
          </p:cNvPr>
          <p:cNvSpPr txBox="1">
            <a:spLocks/>
          </p:cNvSpPr>
          <p:nvPr/>
        </p:nvSpPr>
        <p:spPr>
          <a:xfrm>
            <a:off x="14295091" y="3718113"/>
            <a:ext cx="5854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B4CCBE</a:t>
            </a:r>
          </a:p>
        </p:txBody>
      </p:sp>
      <p:sp>
        <p:nvSpPr>
          <p:cNvPr id="58" name="Tekstfelt 78">
            <a:extLst>
              <a:ext uri="{FF2B5EF4-FFF2-40B4-BE49-F238E27FC236}">
                <a16:creationId xmlns:a16="http://schemas.microsoft.com/office/drawing/2014/main" id="{7F168A02-EAE1-D898-0F25-CF61BCE28121}"/>
              </a:ext>
            </a:extLst>
          </p:cNvPr>
          <p:cNvSpPr txBox="1">
            <a:spLocks/>
          </p:cNvSpPr>
          <p:nvPr/>
        </p:nvSpPr>
        <p:spPr>
          <a:xfrm>
            <a:off x="14298693" y="453181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CE0C1</a:t>
            </a:r>
          </a:p>
        </p:txBody>
      </p:sp>
      <p:sp>
        <p:nvSpPr>
          <p:cNvPr id="59" name="Tekstfelt 83">
            <a:extLst>
              <a:ext uri="{FF2B5EF4-FFF2-40B4-BE49-F238E27FC236}">
                <a16:creationId xmlns:a16="http://schemas.microsoft.com/office/drawing/2014/main" id="{6B328DDC-85FA-6E9E-E6F8-44D370266AF5}"/>
              </a:ext>
            </a:extLst>
          </p:cNvPr>
          <p:cNvSpPr txBox="1">
            <a:spLocks/>
          </p:cNvSpPr>
          <p:nvPr/>
        </p:nvSpPr>
        <p:spPr>
          <a:xfrm>
            <a:off x="14293807" y="5347873"/>
            <a:ext cx="5886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AD3DE</a:t>
            </a:r>
          </a:p>
        </p:txBody>
      </p:sp>
      <p:sp>
        <p:nvSpPr>
          <p:cNvPr id="60" name="Tekstfelt 88">
            <a:extLst>
              <a:ext uri="{FF2B5EF4-FFF2-40B4-BE49-F238E27FC236}">
                <a16:creationId xmlns:a16="http://schemas.microsoft.com/office/drawing/2014/main" id="{102F9497-23C1-BDEA-1D82-C1A4D152C37C}"/>
              </a:ext>
            </a:extLst>
          </p:cNvPr>
          <p:cNvSpPr txBox="1">
            <a:spLocks/>
          </p:cNvSpPr>
          <p:nvPr/>
        </p:nvSpPr>
        <p:spPr>
          <a:xfrm>
            <a:off x="14261041" y="6146499"/>
            <a:ext cx="656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B8E8B</a:t>
            </a:r>
          </a:p>
        </p:txBody>
      </p:sp>
      <p:sp>
        <p:nvSpPr>
          <p:cNvPr id="61" name="Tekstfelt 89">
            <a:extLst>
              <a:ext uri="{FF2B5EF4-FFF2-40B4-BE49-F238E27FC236}">
                <a16:creationId xmlns:a16="http://schemas.microsoft.com/office/drawing/2014/main" id="{B3248899-CDAF-3ABC-6665-C13AFA7F10DE}"/>
              </a:ext>
            </a:extLst>
          </p:cNvPr>
          <p:cNvSpPr txBox="1">
            <a:spLocks/>
          </p:cNvSpPr>
          <p:nvPr/>
        </p:nvSpPr>
        <p:spPr>
          <a:xfrm>
            <a:off x="15125120" y="6146499"/>
            <a:ext cx="580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D9A99</a:t>
            </a:r>
          </a:p>
        </p:txBody>
      </p:sp>
      <p:sp>
        <p:nvSpPr>
          <p:cNvPr id="62" name="Tekstfelt 90">
            <a:extLst>
              <a:ext uri="{FF2B5EF4-FFF2-40B4-BE49-F238E27FC236}">
                <a16:creationId xmlns:a16="http://schemas.microsoft.com/office/drawing/2014/main" id="{B62C85D4-E108-8833-AB8D-65045F1ED576}"/>
              </a:ext>
            </a:extLst>
          </p:cNvPr>
          <p:cNvSpPr txBox="1">
            <a:spLocks/>
          </p:cNvSpPr>
          <p:nvPr/>
        </p:nvSpPr>
        <p:spPr>
          <a:xfrm>
            <a:off x="15963182" y="6146499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EEA6A4</a:t>
            </a:r>
          </a:p>
        </p:txBody>
      </p:sp>
      <p:sp>
        <p:nvSpPr>
          <p:cNvPr id="63" name="Tekstfelt 91">
            <a:extLst>
              <a:ext uri="{FF2B5EF4-FFF2-40B4-BE49-F238E27FC236}">
                <a16:creationId xmlns:a16="http://schemas.microsoft.com/office/drawing/2014/main" id="{20D3391D-B237-FC9A-6A73-478D17377927}"/>
              </a:ext>
            </a:extLst>
          </p:cNvPr>
          <p:cNvSpPr txBox="1">
            <a:spLocks/>
          </p:cNvSpPr>
          <p:nvPr/>
        </p:nvSpPr>
        <p:spPr>
          <a:xfrm>
            <a:off x="16797078" y="6146499"/>
            <a:ext cx="5725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2BFBE</a:t>
            </a:r>
          </a:p>
        </p:txBody>
      </p:sp>
      <p:sp>
        <p:nvSpPr>
          <p:cNvPr id="64" name="Tekstfelt 92">
            <a:extLst>
              <a:ext uri="{FF2B5EF4-FFF2-40B4-BE49-F238E27FC236}">
                <a16:creationId xmlns:a16="http://schemas.microsoft.com/office/drawing/2014/main" id="{371C6CAA-5E61-8660-C522-362AE2CF38EE}"/>
              </a:ext>
            </a:extLst>
          </p:cNvPr>
          <p:cNvSpPr txBox="1">
            <a:spLocks/>
          </p:cNvSpPr>
          <p:nvPr/>
        </p:nvSpPr>
        <p:spPr>
          <a:xfrm>
            <a:off x="17600218" y="6146499"/>
            <a:ext cx="5822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800" b="0" i="0">
                <a:latin typeface="Trebuchet MS" panose="020B0703020202090204" pitchFamily="34" charset="0"/>
                <a:ea typeface="Roboto" panose="02000000000000000000" pitchFamily="2" charset="0"/>
              </a:rPr>
              <a:t>#F7D8D8</a:t>
            </a:r>
          </a:p>
        </p:txBody>
      </p:sp>
      <p:pic>
        <p:nvPicPr>
          <p:cNvPr id="65" name="Billede 3">
            <a:extLst>
              <a:ext uri="{FF2B5EF4-FFF2-40B4-BE49-F238E27FC236}">
                <a16:creationId xmlns:a16="http://schemas.microsoft.com/office/drawing/2014/main" id="{F363122E-7734-8E00-8B78-960CD37ABDE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663" y="0"/>
            <a:ext cx="42453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253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1" kern="1200">
          <a:solidFill>
            <a:srgbClr val="23272A"/>
          </a:solidFill>
          <a:latin typeface="Trebuchet MS" panose="020B0703020202090204" pitchFamily="34" charset="0"/>
          <a:ea typeface="Roboto" panose="02000000000000000000" pitchFamily="2" charset="0"/>
          <a:cs typeface="+mn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lang="en-US" sz="1800" b="0" kern="1200" dirty="0" smtClean="0">
          <a:solidFill>
            <a:srgbClr val="23272A"/>
          </a:solidFill>
          <a:latin typeface="+mn-lt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39.xml"/><Relationship Id="rId7" Type="http://schemas.openxmlformats.org/officeDocument/2006/relationships/oleObject" Target="../embeddings/oleObject28.bin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2.xml"/><Relationship Id="rId10" Type="http://schemas.openxmlformats.org/officeDocument/2006/relationships/image" Target="../media/image16.svg"/><Relationship Id="rId4" Type="http://schemas.openxmlformats.org/officeDocument/2006/relationships/tags" Target="../tags/tag40.xml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4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48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16.svg"/><Relationship Id="rId5" Type="http://schemas.openxmlformats.org/officeDocument/2006/relationships/tags" Target="../tags/tag50.xml"/><Relationship Id="rId10" Type="http://schemas.openxmlformats.org/officeDocument/2006/relationships/image" Target="../media/image15.png"/><Relationship Id="rId4" Type="http://schemas.openxmlformats.org/officeDocument/2006/relationships/tags" Target="../tags/tag49.xml"/><Relationship Id="rId9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51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52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A4B17BD1-21E9-DF42-49A7-89069F87791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" b="13"/>
          <a:stretch/>
        </p:blipFill>
        <p:spPr/>
      </p:pic>
      <p:sp>
        <p:nvSpPr>
          <p:cNvPr id="15" name="Undertitel 14">
            <a:extLst>
              <a:ext uri="{FF2B5EF4-FFF2-40B4-BE49-F238E27FC236}">
                <a16:creationId xmlns:a16="http://schemas.microsoft.com/office/drawing/2014/main" id="{55305D38-526C-D54C-BDD9-0C2EFA18BF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solidFill>
                  <a:schemeClr val="tx1"/>
                </a:solidFill>
                <a:cs typeface="Roboto Condensed" panose="02000000000000000000" pitchFamily="2" charset="0"/>
              </a:rPr>
              <a:t>Nordic – BUSINESS REVIEW, 2026</a:t>
            </a:r>
          </a:p>
          <a:p>
            <a:endParaRPr lang="da-DK" b="1" dirty="0">
              <a:solidFill>
                <a:schemeClr val="tx1"/>
              </a:solidFill>
              <a:cs typeface="Roboto Condensed" panose="02000000000000000000" pitchFamily="2" charset="0"/>
            </a:endParaRP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236E9099-3554-6C43-8626-75FF9C497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00" y="1360801"/>
            <a:ext cx="7266450" cy="646331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  <a:ea typeface="Roboto Condensed" panose="02000000000000000000" pitchFamily="2" charset="0"/>
                <a:cs typeface="Roboto Condensed" panose="02000000000000000000" pitchFamily="2" charset="0"/>
              </a:rPr>
              <a:t>MONTHLY REVIEW</a:t>
            </a:r>
          </a:p>
        </p:txBody>
      </p:sp>
    </p:spTree>
    <p:extLst>
      <p:ext uri="{BB962C8B-B14F-4D97-AF65-F5344CB8AC3E}">
        <p14:creationId xmlns:p14="http://schemas.microsoft.com/office/powerpoint/2010/main" val="7659488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2EE89AB-91AE-C4C8-9AD8-AE8C0DB9FF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Undertitel 14">
            <a:extLst>
              <a:ext uri="{FF2B5EF4-FFF2-40B4-BE49-F238E27FC236}">
                <a16:creationId xmlns:a16="http://schemas.microsoft.com/office/drawing/2014/main" id="{3741634D-ECF6-CFB4-503F-933C956E81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9546" y="839624"/>
            <a:ext cx="6467422" cy="453569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tx1"/>
                </a:solidFill>
                <a:cs typeface="Roboto Condensed" panose="02000000000000000000" pitchFamily="2" charset="0"/>
              </a:rPr>
              <a:t>NORDIC BUSINESS REVIEW SEQUENCE</a:t>
            </a:r>
          </a:p>
          <a:p>
            <a:endParaRPr lang="da-DK" b="1" dirty="0">
              <a:solidFill>
                <a:schemeClr val="tx1"/>
              </a:solidFill>
              <a:cs typeface="Roboto Condensed" panose="02000000000000000000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E4595E-F0EB-BE3B-C4DD-4B4285F2224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8195" b="8437"/>
          <a:stretch>
            <a:fillRect/>
          </a:stretch>
        </p:blipFill>
        <p:spPr>
          <a:xfrm>
            <a:off x="0" y="894730"/>
            <a:ext cx="12192000" cy="5963270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4FBD36EC-F0F2-E7E9-F863-02A10D38253E}"/>
              </a:ext>
            </a:extLst>
          </p:cNvPr>
          <p:cNvSpPr/>
          <p:nvPr/>
        </p:nvSpPr>
        <p:spPr>
          <a:xfrm>
            <a:off x="6786562" y="4657725"/>
            <a:ext cx="1300163" cy="1128713"/>
          </a:xfrm>
          <a:prstGeom prst="roundRect">
            <a:avLst/>
          </a:prstGeom>
          <a:solidFill>
            <a:srgbClr val="F7F5F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3BB4D27-ABFB-A11E-9299-C70F9201F8D5}"/>
              </a:ext>
            </a:extLst>
          </p:cNvPr>
          <p:cNvSpPr/>
          <p:nvPr/>
        </p:nvSpPr>
        <p:spPr>
          <a:xfrm>
            <a:off x="3471863" y="3318164"/>
            <a:ext cx="3486150" cy="2645106"/>
          </a:xfrm>
          <a:prstGeom prst="roundRect">
            <a:avLst/>
          </a:prstGeom>
          <a:solidFill>
            <a:srgbClr val="F7F5F9"/>
          </a:solidFill>
          <a:ln w="28575" cap="flat" cmpd="sng" algn="ctr">
            <a:solidFill>
              <a:schemeClr val="accent5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6B2F326A-7465-981A-1A6B-59583B759E0D}"/>
              </a:ext>
            </a:extLst>
          </p:cNvPr>
          <p:cNvSpPr/>
          <p:nvPr/>
        </p:nvSpPr>
        <p:spPr>
          <a:xfrm>
            <a:off x="8864528" y="3082636"/>
            <a:ext cx="473652" cy="235528"/>
          </a:xfrm>
          <a:prstGeom prst="roundRect">
            <a:avLst/>
          </a:prstGeom>
          <a:solidFill>
            <a:srgbClr val="FBF8F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K" sz="1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radley Hand" pitchFamily="2" charset="77"/>
                <a:ea typeface="+mn-ea"/>
                <a:cs typeface="+mn-cs"/>
              </a:rPr>
              <a:t>BB</a:t>
            </a:r>
          </a:p>
        </p:txBody>
      </p: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D25226F-5681-3F17-6A5C-683F064705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8449" y="3586583"/>
            <a:ext cx="1982057" cy="1116652"/>
          </a:xfrm>
          <a:prstGeom prst="roundRect">
            <a:avLst/>
          </a:prstGeom>
          <a:ln>
            <a:solidFill>
              <a:schemeClr val="accent5"/>
            </a:solidFill>
            <a:prstDash val="dash"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0285164-0D57-36BA-D73F-866A1CB36B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6841" y="4300537"/>
            <a:ext cx="1794144" cy="1485901"/>
          </a:xfrm>
          <a:prstGeom prst="ellipse">
            <a:avLst/>
          </a:prstGeom>
          <a:ln>
            <a:solidFill>
              <a:schemeClr val="accent5"/>
            </a:solidFill>
            <a:prstDash val="dash"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DAD8B40-1560-861E-27DB-E32411421E7C}"/>
              </a:ext>
            </a:extLst>
          </p:cNvPr>
          <p:cNvSpPr/>
          <p:nvPr/>
        </p:nvSpPr>
        <p:spPr>
          <a:xfrm>
            <a:off x="8753474" y="2716159"/>
            <a:ext cx="1962152" cy="1355780"/>
          </a:xfrm>
          <a:prstGeom prst="rect">
            <a:avLst/>
          </a:prstGeom>
          <a:solidFill>
            <a:srgbClr val="FBF9F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DK" sz="8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NTHLY BUSINESS REVIEW</a:t>
            </a:r>
          </a:p>
          <a:p>
            <a:endParaRPr lang="en-DK" sz="8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K" sz="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strict - / Store Oreganis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K" sz="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eatMap and Team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K" sz="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dit Store Perform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K" sz="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B Dashboard Perform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K" sz="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NL and Sales Perform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K" sz="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mprovement actions</a:t>
            </a:r>
          </a:p>
        </p:txBody>
      </p:sp>
      <p:sp>
        <p:nvSpPr>
          <p:cNvPr id="6" name="Triangle 5">
            <a:extLst>
              <a:ext uri="{FF2B5EF4-FFF2-40B4-BE49-F238E27FC236}">
                <a16:creationId xmlns:a16="http://schemas.microsoft.com/office/drawing/2014/main" id="{CBF12EFD-A454-CAD1-439E-32754C0F0372}"/>
              </a:ext>
            </a:extLst>
          </p:cNvPr>
          <p:cNvSpPr/>
          <p:nvPr/>
        </p:nvSpPr>
        <p:spPr>
          <a:xfrm>
            <a:off x="3357563" y="3933516"/>
            <a:ext cx="228600" cy="170429"/>
          </a:xfrm>
          <a:prstGeom prst="triangle">
            <a:avLst/>
          </a:prstGeom>
          <a:solidFill>
            <a:schemeClr val="accent5">
              <a:lumMod val="100000"/>
            </a:schemeClr>
          </a:solidFill>
          <a:ln w="1270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7" name="Triangle 6">
            <a:extLst>
              <a:ext uri="{FF2B5EF4-FFF2-40B4-BE49-F238E27FC236}">
                <a16:creationId xmlns:a16="http://schemas.microsoft.com/office/drawing/2014/main" id="{97BCC036-6523-0C83-BFE6-C7DEB65FC914}"/>
              </a:ext>
            </a:extLst>
          </p:cNvPr>
          <p:cNvSpPr/>
          <p:nvPr/>
        </p:nvSpPr>
        <p:spPr>
          <a:xfrm rot="5400000">
            <a:off x="5135696" y="3215829"/>
            <a:ext cx="228600" cy="170429"/>
          </a:xfrm>
          <a:prstGeom prst="triangle">
            <a:avLst/>
          </a:prstGeom>
          <a:solidFill>
            <a:schemeClr val="accent5">
              <a:lumMod val="100000"/>
            </a:schemeClr>
          </a:solidFill>
          <a:ln w="1270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586D00CF-8779-B877-C195-5E9D0905DADC}"/>
              </a:ext>
            </a:extLst>
          </p:cNvPr>
          <p:cNvSpPr/>
          <p:nvPr/>
        </p:nvSpPr>
        <p:spPr>
          <a:xfrm rot="10800000">
            <a:off x="6844222" y="4555502"/>
            <a:ext cx="228600" cy="170429"/>
          </a:xfrm>
          <a:prstGeom prst="triangle">
            <a:avLst/>
          </a:prstGeom>
          <a:solidFill>
            <a:schemeClr val="accent5">
              <a:lumMod val="100000"/>
            </a:schemeClr>
          </a:solidFill>
          <a:ln w="1270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BACD382D-0E38-CFB9-7840-ADCA8A760581}"/>
              </a:ext>
            </a:extLst>
          </p:cNvPr>
          <p:cNvSpPr/>
          <p:nvPr/>
        </p:nvSpPr>
        <p:spPr>
          <a:xfrm rot="16200000">
            <a:off x="4917639" y="5892456"/>
            <a:ext cx="228600" cy="170429"/>
          </a:xfrm>
          <a:prstGeom prst="triangle">
            <a:avLst/>
          </a:prstGeom>
          <a:solidFill>
            <a:schemeClr val="accent5">
              <a:lumMod val="100000"/>
            </a:schemeClr>
          </a:solidFill>
          <a:ln w="1270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0F1F7C94-61B5-2293-429E-B8E6A02B7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9546" y="248693"/>
            <a:ext cx="8580900" cy="812530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da-DK" sz="3600">
                <a:solidFill>
                  <a:schemeClr val="tx1"/>
                </a:solidFill>
                <a:latin typeface="Roboto Condensed"/>
                <a:ea typeface="Roboto Condensed"/>
                <a:cs typeface="Roboto Condensed"/>
              </a:rPr>
              <a:t>MONTHLY BUSINESS REVIEW SEQEUNCE</a:t>
            </a:r>
            <a:br>
              <a:rPr lang="da-DK" sz="3600" dirty="0">
                <a:solidFill>
                  <a:schemeClr val="tx1"/>
                </a:solidFill>
                <a:latin typeface="Roboto Condensed"/>
                <a:ea typeface="Roboto Condensed"/>
                <a:cs typeface="Roboto Condensed"/>
              </a:rPr>
            </a:br>
            <a:r>
              <a:rPr lang="da-DK" sz="1600">
                <a:solidFill>
                  <a:schemeClr val="tx1"/>
                </a:solidFill>
                <a:latin typeface="Bradley Hand"/>
                <a:ea typeface="Roboto Condensed"/>
                <a:cs typeface="Roboto Condensed"/>
              </a:rPr>
              <a:t>THE ANNOUNCED AUDIT</a:t>
            </a:r>
            <a:endParaRPr lang="da-DK" sz="1600">
              <a:solidFill>
                <a:schemeClr val="tx1"/>
              </a:solidFill>
              <a:latin typeface="Bradley Hand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CE70EA6-3E2D-B580-FAAC-3556EA3908AC}"/>
              </a:ext>
            </a:extLst>
          </p:cNvPr>
          <p:cNvSpPr/>
          <p:nvPr/>
        </p:nvSpPr>
        <p:spPr>
          <a:xfrm>
            <a:off x="959546" y="4505137"/>
            <a:ext cx="1498414" cy="326513"/>
          </a:xfrm>
          <a:custGeom>
            <a:avLst/>
            <a:gdLst>
              <a:gd name="csX0" fmla="*/ 0 w 1498414"/>
              <a:gd name="csY0" fmla="*/ 0 h 326513"/>
              <a:gd name="csX1" fmla="*/ 1498414 w 1498414"/>
              <a:gd name="csY1" fmla="*/ 0 h 326513"/>
              <a:gd name="csX2" fmla="*/ 1498414 w 1498414"/>
              <a:gd name="csY2" fmla="*/ 326513 h 326513"/>
              <a:gd name="csX3" fmla="*/ 0 w 1498414"/>
              <a:gd name="csY3" fmla="*/ 326513 h 326513"/>
              <a:gd name="csX4" fmla="*/ 0 w 1498414"/>
              <a:gd name="csY4" fmla="*/ 0 h 3265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98414" h="326513" extrusionOk="0">
                <a:moveTo>
                  <a:pt x="0" y="0"/>
                </a:moveTo>
                <a:cubicBezTo>
                  <a:pt x="302816" y="-85582"/>
                  <a:pt x="980992" y="-75965"/>
                  <a:pt x="1498414" y="0"/>
                </a:cubicBezTo>
                <a:cubicBezTo>
                  <a:pt x="1486448" y="58161"/>
                  <a:pt x="1519875" y="260656"/>
                  <a:pt x="1498414" y="326513"/>
                </a:cubicBezTo>
                <a:cubicBezTo>
                  <a:pt x="1079288" y="375871"/>
                  <a:pt x="601208" y="305321"/>
                  <a:pt x="0" y="326513"/>
                </a:cubicBezTo>
                <a:cubicBezTo>
                  <a:pt x="22633" y="234211"/>
                  <a:pt x="2409" y="102677"/>
                  <a:pt x="0" y="0"/>
                </a:cubicBezTo>
                <a:close/>
              </a:path>
            </a:pathLst>
          </a:custGeom>
          <a:noFill/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1050" b="1" dirty="0">
                <a:solidFill>
                  <a:schemeClr val="tx1"/>
                </a:solidFill>
                <a:latin typeface="Bradley Hand" pitchFamily="2" charset="77"/>
                <a:ea typeface="Roboto" panose="02000000000000000000" pitchFamily="2" charset="0"/>
                <a:cs typeface="Roboto" panose="02000000000000000000" pitchFamily="2" charset="0"/>
              </a:rPr>
              <a:t>1 UNANNOUNCED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107BD974-AF55-7BFE-8522-FF64D9D99F8D}"/>
              </a:ext>
            </a:extLst>
          </p:cNvPr>
          <p:cNvSpPr/>
          <p:nvPr/>
        </p:nvSpPr>
        <p:spPr>
          <a:xfrm>
            <a:off x="4055952" y="1163445"/>
            <a:ext cx="3084603" cy="1469309"/>
          </a:xfrm>
          <a:prstGeom prst="roundRect">
            <a:avLst/>
          </a:prstGeom>
          <a:solidFill>
            <a:srgbClr val="FEFBFE">
              <a:alpha val="75000"/>
            </a:srgb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B47B9E-E357-244A-CABC-7134FDFDC4B7}"/>
              </a:ext>
            </a:extLst>
          </p:cNvPr>
          <p:cNvSpPr/>
          <p:nvPr/>
        </p:nvSpPr>
        <p:spPr>
          <a:xfrm rot="1295333">
            <a:off x="6152853" y="1336042"/>
            <a:ext cx="980887" cy="224059"/>
          </a:xfrm>
          <a:prstGeom prst="rect">
            <a:avLst/>
          </a:prstGeom>
          <a:solidFill>
            <a:schemeClr val="accent5">
              <a:lumMod val="100000"/>
            </a:schemeClr>
          </a:solidFill>
          <a:ln w="1270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1050" b="1" dirty="0">
                <a:solidFill>
                  <a:schemeClr val="tx1"/>
                </a:solidFill>
                <a:latin typeface="Bradley Hand" pitchFamily="2" charset="77"/>
              </a:rPr>
              <a:t>Quarterly</a:t>
            </a:r>
          </a:p>
        </p:txBody>
      </p:sp>
    </p:spTree>
    <p:extLst>
      <p:ext uri="{BB962C8B-B14F-4D97-AF65-F5344CB8AC3E}">
        <p14:creationId xmlns:p14="http://schemas.microsoft.com/office/powerpoint/2010/main" val="42651963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F00D31-3BD7-40FC-BF73-29B68D775B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26AA7-4ECD-D9E2-9631-506CAB9A5FFC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121481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Denmark Department - District Pipeline &amp; Heatma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0ACA501-7728-6B62-8F29-EC42E149ED6A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A00D2C-81F4-6151-7667-491DF6E79C85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4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6B54B4C6-E1B5-873D-52C7-8FB782B1A7E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7" imgW="914626" imgH="792757" progId="Ampler.ActiveDocument">
                  <p:embed/>
                </p:oleObj>
              </mc:Choice>
              <mc:Fallback>
                <p:oleObj name="Ampler" showAsIcon="1" r:id="rId7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6B54B4C6-E1B5-873D-52C7-8FB782B1A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7D74E70-F5ED-71D1-C95B-C170B4E4EA65}"/>
              </a:ext>
            </a:extLst>
          </p:cNvPr>
          <p:cNvSpPr/>
          <p:nvPr/>
        </p:nvSpPr>
        <p:spPr>
          <a:xfrm>
            <a:off x="802208" y="1332689"/>
            <a:ext cx="7779085" cy="4925877"/>
          </a:xfrm>
          <a:prstGeom prst="rect">
            <a:avLst/>
          </a:prstGeom>
          <a:solidFill>
            <a:srgbClr val="FFED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C8CA080-EF11-4C30-1A4E-174AC8E75F9E}"/>
              </a:ext>
            </a:extLst>
          </p:cNvPr>
          <p:cNvSpPr/>
          <p:nvPr/>
        </p:nvSpPr>
        <p:spPr>
          <a:xfrm>
            <a:off x="9121031" y="2158470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1EBDCC-95CD-027D-ABD7-F50A2B1314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207750" y="1332689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solidFill>
                  <a:sysClr val="windowText" lastClr="000000"/>
                </a:solidFill>
                <a:latin typeface="Roboto Condensed"/>
                <a:ea typeface="Roboto Condensed"/>
                <a:cs typeface="Roboto Condensed"/>
              </a:rPr>
              <a:t>PIPELINE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</a:rPr>
              <a:t>. 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pic>
        <p:nvPicPr>
          <p:cNvPr id="15" name="Pic">
            <a:extLst>
              <a:ext uri="{FF2B5EF4-FFF2-40B4-BE49-F238E27FC236}">
                <a16:creationId xmlns:a16="http://schemas.microsoft.com/office/drawing/2014/main" id="{E4F6FA61-30D3-A242-7C70-FF87B965D62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 rot="4327187" flipH="1">
            <a:off x="8041543" y="1227120"/>
            <a:ext cx="1079500" cy="1079500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570B4EA-5FED-BFD2-4A47-789A1A0E5F85}"/>
              </a:ext>
            </a:extLst>
          </p:cNvPr>
          <p:cNvCxnSpPr>
            <a:cxnSpLocks/>
          </p:cNvCxnSpPr>
          <p:nvPr/>
        </p:nvCxnSpPr>
        <p:spPr>
          <a:xfrm flipH="1">
            <a:off x="9121031" y="1958120"/>
            <a:ext cx="226876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3FF08416-865C-8F5F-E55A-3B9FD93DC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20512310">
            <a:off x="824242" y="2749425"/>
            <a:ext cx="7518714" cy="1898522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INSERT STORE PIPELINE &amp; HEATMAP (ORG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13188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EDFE5D-8638-B60C-0A1E-3557E16BB6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40698FC-7144-A0E6-C338-9324E5922784}"/>
              </a:ext>
            </a:extLst>
          </p:cNvPr>
          <p:cNvSpPr/>
          <p:nvPr/>
        </p:nvSpPr>
        <p:spPr>
          <a:xfrm>
            <a:off x="4216121" y="1077246"/>
            <a:ext cx="7492464" cy="5216185"/>
          </a:xfrm>
          <a:prstGeom prst="rect">
            <a:avLst/>
          </a:prstGeom>
          <a:solidFill>
            <a:srgbClr val="FFED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BA6C9-2F3C-55C3-F88E-F6774C38B100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121481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Foundation Operational Performa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D921CEB-3364-D034-67B1-06578DBD9CAE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4C8A18-2712-8D3C-D2DA-6A031387A5C4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4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D13FC070-02A2-4575-706A-62F38335FF9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8" imgW="914626" imgH="792757" progId="Ampler.ActiveDocument">
                  <p:embed/>
                </p:oleObj>
              </mc:Choice>
              <mc:Fallback>
                <p:oleObj name="Ampler" showAsIcon="1" r:id="rId8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D13FC070-02A2-4575-706A-62F38335F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E48CC02C-EBBA-3C74-2807-F9D18126CA13}"/>
              </a:ext>
            </a:extLst>
          </p:cNvPr>
          <p:cNvSpPr/>
          <p:nvPr/>
        </p:nvSpPr>
        <p:spPr>
          <a:xfrm>
            <a:off x="11708588" y="-1357036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HEALTH INSPEC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RISKPROOF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UDI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RAI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AB9B88-07DC-FFB6-F7EC-AE7D66E3E5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795308" y="-2016932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939D30C-4141-CFC7-4B22-2BD8092F052E}"/>
              </a:ext>
            </a:extLst>
          </p:cNvPr>
          <p:cNvSpPr/>
          <p:nvPr/>
        </p:nvSpPr>
        <p:spPr>
          <a:xfrm>
            <a:off x="802207" y="2645667"/>
            <a:ext cx="2700647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D8D9D8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umma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Overall summary &amp; observa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C842EC-80A9-CEB4-DB06-ECDF873ED3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02207" y="4015791"/>
            <a:ext cx="2982204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ABC7B7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W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Key successes &amp; positive learning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C67A8BA-9EE7-F816-7352-2A3A5C2F3F74}"/>
              </a:ext>
            </a:extLst>
          </p:cNvPr>
          <p:cNvCxnSpPr>
            <a:cxnSpLocks/>
          </p:cNvCxnSpPr>
          <p:nvPr/>
        </p:nvCxnSpPr>
        <p:spPr>
          <a:xfrm>
            <a:off x="3741804" y="2612329"/>
            <a:ext cx="0" cy="919163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DCB9BDF-4C76-8BD1-0FBE-309A717E94DB}"/>
              </a:ext>
            </a:extLst>
          </p:cNvPr>
          <p:cNvCxnSpPr>
            <a:cxnSpLocks/>
          </p:cNvCxnSpPr>
          <p:nvPr/>
        </p:nvCxnSpPr>
        <p:spPr>
          <a:xfrm>
            <a:off x="3741804" y="1043909"/>
            <a:ext cx="0" cy="919163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B0CAB1-DA91-C109-0174-3939C5273AD0}"/>
              </a:ext>
            </a:extLst>
          </p:cNvPr>
          <p:cNvCxnSpPr>
            <a:cxnSpLocks/>
          </p:cNvCxnSpPr>
          <p:nvPr/>
        </p:nvCxnSpPr>
        <p:spPr>
          <a:xfrm>
            <a:off x="802208" y="2263857"/>
            <a:ext cx="2939596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A0105FE5-35C8-488A-3497-E377F94C37C0}"/>
              </a:ext>
            </a:extLst>
          </p:cNvPr>
          <p:cNvSpPr/>
          <p:nvPr/>
        </p:nvSpPr>
        <p:spPr>
          <a:xfrm>
            <a:off x="802207" y="1077246"/>
            <a:ext cx="3174963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UDIT GO THROUG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Monthly actuals &amp; delta to budge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58C909-B9C1-D516-9CBC-64687062BE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02208" y="5405755"/>
            <a:ext cx="2982204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A7B7B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halleng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reas of improvement &amp; growth opportuniti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A0FBA54-F3BF-5CE2-3BBC-438E108EBD17}"/>
              </a:ext>
            </a:extLst>
          </p:cNvPr>
          <p:cNvCxnSpPr>
            <a:cxnSpLocks/>
          </p:cNvCxnSpPr>
          <p:nvPr/>
        </p:nvCxnSpPr>
        <p:spPr>
          <a:xfrm>
            <a:off x="3741804" y="5386443"/>
            <a:ext cx="0" cy="906988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410EC2B-4845-E686-F760-A70BED3614FE}"/>
              </a:ext>
            </a:extLst>
          </p:cNvPr>
          <p:cNvCxnSpPr>
            <a:cxnSpLocks/>
          </p:cNvCxnSpPr>
          <p:nvPr/>
        </p:nvCxnSpPr>
        <p:spPr>
          <a:xfrm>
            <a:off x="3741804" y="3990391"/>
            <a:ext cx="0" cy="919163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2A7EBDA-475D-768C-52A0-8CAF61D00B9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9702678">
            <a:off x="5392715" y="2004594"/>
            <a:ext cx="4900327" cy="2585814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 MONTHL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85991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F73901-00E7-1096-569F-DADD37EC1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2939220-9241-C2B3-A57A-5DCBEC59ED10}"/>
              </a:ext>
            </a:extLst>
          </p:cNvPr>
          <p:cNvSpPr/>
          <p:nvPr/>
        </p:nvSpPr>
        <p:spPr>
          <a:xfrm>
            <a:off x="802208" y="1643484"/>
            <a:ext cx="7779085" cy="4615082"/>
          </a:xfrm>
          <a:prstGeom prst="rect">
            <a:avLst/>
          </a:prstGeom>
          <a:solidFill>
            <a:srgbClr val="FFED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6C10CF-5492-05CA-3B5D-1E7527B14C7A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1214814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Foundation Operational Performa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ECDB76-A89D-8C50-B8EE-717C1D86FFEA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DB986E6-E918-ADA7-A522-22406CEC32A4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4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EE8CE360-E26C-63DB-65B5-DE582E07031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8" imgW="914626" imgH="792757" progId="Ampler.ActiveDocument">
                  <p:embed/>
                </p:oleObj>
              </mc:Choice>
              <mc:Fallback>
                <p:oleObj name="Ampler" showAsIcon="1" r:id="rId8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EE8CE360-E26C-63DB-65B5-DE582E070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34A4810-C058-485F-C0D1-9602BC6604BD}"/>
              </a:ext>
            </a:extLst>
          </p:cNvPr>
          <p:cNvSpPr/>
          <p:nvPr/>
        </p:nvSpPr>
        <p:spPr>
          <a:xfrm>
            <a:off x="11708588" y="-1357036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HEALTH INSPEC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RISKPROOF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AUDI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RAI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344EAD-3C8E-DD0D-4B8D-F7A30AF2F4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795308" y="-2016932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4FB1EED-93C6-9A2E-6221-30305B17CB17}"/>
              </a:ext>
            </a:extLst>
          </p:cNvPr>
          <p:cNvSpPr/>
          <p:nvPr/>
        </p:nvSpPr>
        <p:spPr>
          <a:xfrm>
            <a:off x="802208" y="790996"/>
            <a:ext cx="2700647" cy="8524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BB DASHBOA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Monthly actuals &amp; delta to budge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18C4272-FD16-A0A4-4176-46A24098BD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9702678">
            <a:off x="2241586" y="2526074"/>
            <a:ext cx="4900327" cy="2585814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75000"/>
                  </a:srgbClr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UPDATE MONTHL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4D2336B-8725-2AF0-518D-538F3BE64A87}"/>
              </a:ext>
            </a:extLst>
          </p:cNvPr>
          <p:cNvSpPr/>
          <p:nvPr/>
        </p:nvSpPr>
        <p:spPr>
          <a:xfrm>
            <a:off x="9121031" y="2158470"/>
            <a:ext cx="2268761" cy="3191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9531B8E-9380-93F5-B30A-9149C582F0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207750" y="1332689"/>
            <a:ext cx="2095322" cy="868363"/>
          </a:xfrm>
          <a:prstGeom prst="rect">
            <a:avLst/>
          </a:prstGeom>
          <a:noFill/>
          <a:ln>
            <a:noFill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Org. 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Comments / Recent Changes</a:t>
            </a:r>
          </a:p>
        </p:txBody>
      </p:sp>
      <p:pic>
        <p:nvPicPr>
          <p:cNvPr id="31" name="Pic">
            <a:extLst>
              <a:ext uri="{FF2B5EF4-FFF2-40B4-BE49-F238E27FC236}">
                <a16:creationId xmlns:a16="http://schemas.microsoft.com/office/drawing/2014/main" id="{3C889563-D834-28AB-210C-219D5BF24FFE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 rot="4327187" flipH="1">
            <a:off x="8041543" y="1227120"/>
            <a:ext cx="1079500" cy="1079500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AE251EB-0CEE-944F-19C6-B23EFA46766A}"/>
              </a:ext>
            </a:extLst>
          </p:cNvPr>
          <p:cNvCxnSpPr>
            <a:cxnSpLocks/>
          </p:cNvCxnSpPr>
          <p:nvPr/>
        </p:nvCxnSpPr>
        <p:spPr>
          <a:xfrm flipH="1">
            <a:off x="9121031" y="1958120"/>
            <a:ext cx="226876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745378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F5122-5673-F838-20BE-F53A30B1F4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15CE4F-0D10-9B92-D1E8-69E04E12752E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0659217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lvl="0">
              <a:defRPr/>
            </a:pPr>
            <a:r>
              <a:rPr lang="en-GB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Key Priorities &amp; Monthly Action Pla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8DEE98-3615-C714-19F7-F71EAB5B415A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E8932D-0F2E-6DC7-B809-BFE0D39E8688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3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FC39004C-6C3A-7750-AD0A-95FA69E85ED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4" imgW="914626" imgH="792757" progId="Ampler.ActiveDocument">
                  <p:embed/>
                </p:oleObj>
              </mc:Choice>
              <mc:Fallback>
                <p:oleObj name="Ampler" showAsIcon="1" r:id="rId4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FC39004C-6C3A-7750-AD0A-95FA69E85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1EC3B37-340C-B2DB-0C2F-402870F29DB4}"/>
              </a:ext>
            </a:extLst>
          </p:cNvPr>
          <p:cNvGraphicFramePr>
            <a:graphicFrameLocks noGrp="1"/>
          </p:cNvGraphicFramePr>
          <p:nvPr/>
        </p:nvGraphicFramePr>
        <p:xfrm>
          <a:off x="802208" y="969109"/>
          <a:ext cx="10587583" cy="484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9194">
                  <a:extLst>
                    <a:ext uri="{9D8B030D-6E8A-4147-A177-3AD203B41FA5}">
                      <a16:colId xmlns:a16="http://schemas.microsoft.com/office/drawing/2014/main" val="1087355290"/>
                    </a:ext>
                  </a:extLst>
                </a:gridCol>
                <a:gridCol w="5570690">
                  <a:extLst>
                    <a:ext uri="{9D8B030D-6E8A-4147-A177-3AD203B41FA5}">
                      <a16:colId xmlns:a16="http://schemas.microsoft.com/office/drawing/2014/main" val="401547409"/>
                    </a:ext>
                  </a:extLst>
                </a:gridCol>
                <a:gridCol w="1487699">
                  <a:extLst>
                    <a:ext uri="{9D8B030D-6E8A-4147-A177-3AD203B41FA5}">
                      <a16:colId xmlns:a16="http://schemas.microsoft.com/office/drawing/2014/main" val="764990589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ctr"/>
                      <a:r>
                        <a:rPr lang="en-GB" sz="1800" u="none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RIO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CTIONS / INITIATIV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STATU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48435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r>
                        <a:rPr lang="en-GB" sz="20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INCREASE PRODUCTIVITY TO XX, ACHIVE SAL% ON XX …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302677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1891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089229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RIORITY #2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XXX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1751170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219818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923384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RIORITY #3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364931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9561687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595659"/>
                  </a:ext>
                </a:extLst>
              </a:tr>
            </a:tbl>
          </a:graphicData>
        </a:graphic>
      </p:graphicFrame>
      <p:sp>
        <p:nvSpPr>
          <p:cNvPr id="12" name="Oval 11">
            <a:extLst>
              <a:ext uri="{FF2B5EF4-FFF2-40B4-BE49-F238E27FC236}">
                <a16:creationId xmlns:a16="http://schemas.microsoft.com/office/drawing/2014/main" id="{547A3522-D6E1-9EF7-F3B7-2F4B817F516E}"/>
              </a:ext>
            </a:extLst>
          </p:cNvPr>
          <p:cNvSpPr/>
          <p:nvPr/>
        </p:nvSpPr>
        <p:spPr>
          <a:xfrm>
            <a:off x="10521995" y="1589010"/>
            <a:ext cx="270000" cy="270000"/>
          </a:xfrm>
          <a:prstGeom prst="ellipse">
            <a:avLst/>
          </a:prstGeom>
          <a:solidFill>
            <a:schemeClr val="accent3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E49A84E-38B9-77B5-400C-D3FD9EC16344}"/>
              </a:ext>
            </a:extLst>
          </p:cNvPr>
          <p:cNvSpPr/>
          <p:nvPr/>
        </p:nvSpPr>
        <p:spPr>
          <a:xfrm>
            <a:off x="10521995" y="2065537"/>
            <a:ext cx="270000" cy="270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BBF421E-ED99-55E8-7750-4681567068B1}"/>
              </a:ext>
            </a:extLst>
          </p:cNvPr>
          <p:cNvSpPr/>
          <p:nvPr/>
        </p:nvSpPr>
        <p:spPr>
          <a:xfrm>
            <a:off x="10521995" y="2542064"/>
            <a:ext cx="270000" cy="2700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4B5944B-12FC-C151-054D-F5A72DCF7E47}"/>
              </a:ext>
            </a:extLst>
          </p:cNvPr>
          <p:cNvSpPr/>
          <p:nvPr/>
        </p:nvSpPr>
        <p:spPr>
          <a:xfrm>
            <a:off x="10521995" y="3018591"/>
            <a:ext cx="270000" cy="270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4280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640E1F-70CA-B9F5-52F7-A77604F3C6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20A27-0CA5-F5FE-2168-F522C1D57BA5}"/>
              </a:ext>
            </a:extLst>
          </p:cNvPr>
          <p:cNvSpPr txBox="1">
            <a:spLocks/>
          </p:cNvSpPr>
          <p:nvPr/>
        </p:nvSpPr>
        <p:spPr>
          <a:xfrm>
            <a:off x="730574" y="201573"/>
            <a:ext cx="10659217" cy="48013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rgbClr val="23272A"/>
                </a:solidFill>
                <a:latin typeface="Trebuchet MS" panose="020B06030202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3272A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anuary 2026 – Key Priorities &amp; Monthly Action Pla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F66C0B-B706-EA1A-394C-07249554906B}"/>
              </a:ext>
            </a:extLst>
          </p:cNvPr>
          <p:cNvSpPr/>
          <p:nvPr/>
        </p:nvSpPr>
        <p:spPr>
          <a:xfrm>
            <a:off x="5863910" y="92281"/>
            <a:ext cx="666430" cy="330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B028AC-AEB9-8A8E-B3ED-17800F847277}"/>
              </a:ext>
            </a:extLst>
          </p:cNvPr>
          <p:cNvCxnSpPr>
            <a:cxnSpLocks/>
          </p:cNvCxnSpPr>
          <p:nvPr/>
        </p:nvCxnSpPr>
        <p:spPr>
          <a:xfrm flipV="1">
            <a:off x="802208" y="653423"/>
            <a:ext cx="10587583" cy="19616"/>
          </a:xfrm>
          <a:prstGeom prst="line">
            <a:avLst/>
          </a:prstGeom>
          <a:noFill/>
          <a:ln w="19050" cap="flat" cmpd="sng" algn="ctr">
            <a:solidFill>
              <a:srgbClr val="FFC3D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mpler data - do not delete" hidden="1">
            <a:extLst>
              <a:ext uri="{FF2B5EF4-FFF2-40B4-BE49-F238E27FC236}">
                <a16:creationId xmlns:a16="http://schemas.microsoft.com/office/drawing/2014/main" id="{3AF008AB-4D4C-70E0-CB0E-E59813B0FF5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4" imgW="914626" imgH="792757" progId="Ampler.ActiveDocument">
                  <p:embed/>
                </p:oleObj>
              </mc:Choice>
              <mc:Fallback>
                <p:oleObj name="Ampler" showAsIcon="1" r:id="rId4" imgW="914626" imgH="792757" progId="Ampler.ActiveDocument">
                  <p:embed/>
                  <p:pic>
                    <p:nvPicPr>
                      <p:cNvPr id="8" name="Ampler data - do not delete" hidden="1">
                        <a:extLst>
                          <a:ext uri="{FF2B5EF4-FFF2-40B4-BE49-F238E27FC236}">
                            <a16:creationId xmlns:a16="http://schemas.microsoft.com/office/drawing/2014/main" id="{3AF008AB-4D4C-70E0-CB0E-E59813B0F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B6EF26A-778C-A067-5025-1CA2C41A854B}"/>
              </a:ext>
            </a:extLst>
          </p:cNvPr>
          <p:cNvGraphicFramePr>
            <a:graphicFrameLocks noGrp="1"/>
          </p:cNvGraphicFramePr>
          <p:nvPr/>
        </p:nvGraphicFramePr>
        <p:xfrm>
          <a:off x="802208" y="969109"/>
          <a:ext cx="10587583" cy="484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9194">
                  <a:extLst>
                    <a:ext uri="{9D8B030D-6E8A-4147-A177-3AD203B41FA5}">
                      <a16:colId xmlns:a16="http://schemas.microsoft.com/office/drawing/2014/main" val="1087355290"/>
                    </a:ext>
                  </a:extLst>
                </a:gridCol>
                <a:gridCol w="5570690">
                  <a:extLst>
                    <a:ext uri="{9D8B030D-6E8A-4147-A177-3AD203B41FA5}">
                      <a16:colId xmlns:a16="http://schemas.microsoft.com/office/drawing/2014/main" val="401547409"/>
                    </a:ext>
                  </a:extLst>
                </a:gridCol>
                <a:gridCol w="1487699">
                  <a:extLst>
                    <a:ext uri="{9D8B030D-6E8A-4147-A177-3AD203B41FA5}">
                      <a16:colId xmlns:a16="http://schemas.microsoft.com/office/drawing/2014/main" val="764990589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ctr"/>
                      <a:r>
                        <a:rPr lang="en-GB" sz="1800" u="none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RIO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CTIONS / INITIATIV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STATU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48435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r>
                        <a:rPr lang="en-GB" sz="20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TEAM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Train every STM in ‘How to make a Juicer Training Plan’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302677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1891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Add action / initiative that will help achieve the overall goal / priority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089229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EXPERIENCE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XXX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1751170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219818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923384"/>
                  </a:ext>
                </a:extLst>
              </a:tr>
              <a:tr h="48240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u="none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Roboto Condensed" panose="02000000000000000000" pitchFamily="2" charset="0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ERFORMANCE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3DD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364931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9561687"/>
                  </a:ext>
                </a:extLst>
              </a:tr>
              <a:tr h="48240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1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Roboto Condensed" panose="02000000000000000000" pitchFamily="2" charset="0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595659"/>
                  </a:ext>
                </a:extLst>
              </a:tr>
            </a:tbl>
          </a:graphicData>
        </a:graphic>
      </p:graphicFrame>
      <p:sp>
        <p:nvSpPr>
          <p:cNvPr id="12" name="Oval 11">
            <a:extLst>
              <a:ext uri="{FF2B5EF4-FFF2-40B4-BE49-F238E27FC236}">
                <a16:creationId xmlns:a16="http://schemas.microsoft.com/office/drawing/2014/main" id="{539A807D-BE5F-2013-DB9D-FF47D45AE535}"/>
              </a:ext>
            </a:extLst>
          </p:cNvPr>
          <p:cNvSpPr/>
          <p:nvPr/>
        </p:nvSpPr>
        <p:spPr>
          <a:xfrm>
            <a:off x="10521995" y="1589010"/>
            <a:ext cx="270000" cy="270000"/>
          </a:xfrm>
          <a:prstGeom prst="ellipse">
            <a:avLst/>
          </a:prstGeom>
          <a:solidFill>
            <a:schemeClr val="accent3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41E9A55-E163-536C-97E6-BA06CA592674}"/>
              </a:ext>
            </a:extLst>
          </p:cNvPr>
          <p:cNvSpPr/>
          <p:nvPr/>
        </p:nvSpPr>
        <p:spPr>
          <a:xfrm>
            <a:off x="10521995" y="2065537"/>
            <a:ext cx="270000" cy="270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C37557E-8360-985D-2837-109C23FD38FA}"/>
              </a:ext>
            </a:extLst>
          </p:cNvPr>
          <p:cNvSpPr/>
          <p:nvPr/>
        </p:nvSpPr>
        <p:spPr>
          <a:xfrm>
            <a:off x="10521995" y="2542064"/>
            <a:ext cx="270000" cy="2700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72470C0-386F-512D-4244-D1E13CE69009}"/>
              </a:ext>
            </a:extLst>
          </p:cNvPr>
          <p:cNvSpPr/>
          <p:nvPr/>
        </p:nvSpPr>
        <p:spPr>
          <a:xfrm>
            <a:off x="10521995" y="3018591"/>
            <a:ext cx="270000" cy="270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01590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SnBtg6J7FWDPnW18dw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c5awkk6w1198FjT6px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SnBtg6J7FWDPnW18dw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th Footer">
  <a:themeElements>
    <a:clrScheme name="JOE - Power Shake">
      <a:dk1>
        <a:srgbClr val="222222"/>
      </a:dk1>
      <a:lt1>
        <a:srgbClr val="F7F7F7"/>
      </a:lt1>
      <a:dk2>
        <a:srgbClr val="191919"/>
      </a:dk2>
      <a:lt2>
        <a:srgbClr val="FEFFFF"/>
      </a:lt2>
      <a:accent1>
        <a:srgbClr val="F2D0DF"/>
      </a:accent1>
      <a:accent2>
        <a:srgbClr val="F4D4E3"/>
      </a:accent2>
      <a:accent3>
        <a:srgbClr val="F5DAE5"/>
      </a:accent3>
      <a:accent4>
        <a:srgbClr val="F6DEE9"/>
      </a:accent4>
      <a:accent5>
        <a:srgbClr val="F8E8EF"/>
      </a:accent5>
      <a:accent6>
        <a:srgbClr val="FAF0F5"/>
      </a:accent6>
      <a:hlink>
        <a:srgbClr val="0563C1"/>
      </a:hlink>
      <a:folHlink>
        <a:srgbClr val="954F72"/>
      </a:folHlink>
    </a:clrScheme>
    <a:fontScheme name="Garamond-Trebuchet MS">
      <a:majorFont>
        <a:latin typeface="Garamond" panose="020204040303010108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JOE">
  <a:themeElements>
    <a:clrScheme name="Custom 5">
      <a:dk1>
        <a:srgbClr val="000000"/>
      </a:dk1>
      <a:lt1>
        <a:srgbClr val="FFFFFF"/>
      </a:lt1>
      <a:dk2>
        <a:srgbClr val="959595"/>
      </a:dk2>
      <a:lt2>
        <a:srgbClr val="E7E6E6"/>
      </a:lt2>
      <a:accent1>
        <a:srgbClr val="D8D9D8"/>
      </a:accent1>
      <a:accent2>
        <a:srgbClr val="576480"/>
      </a:accent2>
      <a:accent3>
        <a:srgbClr val="ABC7B7"/>
      </a:accent3>
      <a:accent4>
        <a:srgbClr val="EADEBA"/>
      </a:accent4>
      <a:accent5>
        <a:srgbClr val="EDD2DF"/>
      </a:accent5>
      <a:accent6>
        <a:srgbClr val="FA7B7B"/>
      </a:accent6>
      <a:hlink>
        <a:srgbClr val="0563C1"/>
      </a:hlink>
      <a:folHlink>
        <a:srgbClr val="954F72"/>
      </a:folHlink>
    </a:clrScheme>
    <a:fontScheme name="Joe &amp; the Juic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>
            <a:lumMod val="100000"/>
          </a:schemeClr>
        </a:solidFill>
        <a:ln w="12700" cap="flat" cmpd="sng" algn="ctr">
          <a:solidFill>
            <a:schemeClr val="accent5">
              <a:lumMod val="100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tx1">
              <a:lumMod val="75000"/>
              <a:lumOff val="25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buNone/>
          <a:defRPr dirty="0">
            <a:latin typeface="Trebuchet MS" panose="020B0603020202020204" pitchFamily="34" charset="0"/>
            <a:sym typeface=""/>
          </a:defRPr>
        </a:defPPr>
      </a:lstStyle>
    </a:txDef>
  </a:objectDefaults>
  <a:extraClrSchemeLst/>
  <a:custClrLst>
    <a:custClr name="Brand color 1">
      <a:srgbClr val="DCD5CD"/>
    </a:custClr>
    <a:custClr name="Brand color 2">
      <a:srgbClr val="8D6178"/>
    </a:custClr>
    <a:custClr name="Brand color 3">
      <a:srgbClr val="F2EAA1"/>
    </a:custClr>
    <a:custClr name="Brand color 4">
      <a:srgbClr val="FFC3DD"/>
    </a:custClr>
    <a:custClr name="Brand color 5">
      <a:srgbClr val="8FD8AB"/>
    </a:custClr>
  </a:custClrLst>
  <a:extLst>
    <a:ext uri="{05A4C25C-085E-4340-85A3-A5531E510DB2}">
      <thm15:themeFamily xmlns:thm15="http://schemas.microsoft.com/office/thememl/2012/main" name="JOE" id="{6056AE2C-F562-4C73-BAC5-3B86158D69EA}" vid="{9DB44033-F062-4DA9-B4FF-1A8C323801B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EFEEA5666C6E445BD54A23E918F0C77" ma:contentTypeVersion="11" ma:contentTypeDescription="Opret et nyt dokument." ma:contentTypeScope="" ma:versionID="f515317446f5bb2078fe31d148d44425">
  <xsd:schema xmlns:xsd="http://www.w3.org/2001/XMLSchema" xmlns:xs="http://www.w3.org/2001/XMLSchema" xmlns:p="http://schemas.microsoft.com/office/2006/metadata/properties" xmlns:ns2="1931af0e-9aae-405d-84c1-42c8442358ef" xmlns:ns3="719e369d-802b-43db-8eda-8ba42fc41e13" targetNamespace="http://schemas.microsoft.com/office/2006/metadata/properties" ma:root="true" ma:fieldsID="b929ba445df1db45a1e9e061abb5cc34" ns2:_="" ns3:_="">
    <xsd:import namespace="1931af0e-9aae-405d-84c1-42c8442358ef"/>
    <xsd:import namespace="719e369d-802b-43db-8eda-8ba42fc41e1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31af0e-9aae-405d-84c1-42c8442358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ledmærker" ma:readOnly="false" ma:fieldId="{5cf76f15-5ced-4ddc-b409-7134ff3c332f}" ma:taxonomyMulti="true" ma:sspId="38a6fbc4-f701-4b59-92b1-c542526071b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BillingMetadata" ma:index="1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9e369d-802b-43db-8eda-8ba42fc41e13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362d0fd-ade4-47d7-881f-206fded3c489}" ma:internalName="TaxCatchAll" ma:showField="CatchAllData" ma:web="719e369d-802b-43db-8eda-8ba42fc41e1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931af0e-9aae-405d-84c1-42c8442358ef">
      <Terms xmlns="http://schemas.microsoft.com/office/infopath/2007/PartnerControls"/>
    </lcf76f155ced4ddcb4097134ff3c332f>
    <TaxCatchAll xmlns="719e369d-802b-43db-8eda-8ba42fc41e13" xsi:nil="true"/>
  </documentManagement>
</p:properties>
</file>

<file path=customXml/itemProps1.xml><?xml version="1.0" encoding="utf-8"?>
<ds:datastoreItem xmlns:ds="http://schemas.openxmlformats.org/officeDocument/2006/customXml" ds:itemID="{4DF3F090-3F75-424D-84F2-767952E903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931af0e-9aae-405d-84c1-42c8442358ef"/>
    <ds:schemaRef ds:uri="719e369d-802b-43db-8eda-8ba42fc41e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B43AFC-5A64-4613-A8EA-E4E0C59421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A0BAC17-BD64-4EBB-B3A2-C80BB0EC6AFD}">
  <ds:schemaRefs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1931af0e-9aae-405d-84c1-42c8442358ef"/>
    <ds:schemaRef ds:uri="http://purl.org/dc/dcmitype/"/>
    <ds:schemaRef ds:uri="http://schemas.microsoft.com/office/2006/metadata/properties"/>
    <ds:schemaRef ds:uri="http://schemas.openxmlformats.org/package/2006/metadata/core-properties"/>
    <ds:schemaRef ds:uri="719e369d-802b-43db-8eda-8ba42fc41e13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7</Words>
  <Application>Microsoft Office PowerPoint</Application>
  <PresentationFormat>Widescreen</PresentationFormat>
  <Paragraphs>80</Paragraphs>
  <Slides>7</Slides>
  <Notes>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1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7</vt:i4>
      </vt:variant>
    </vt:vector>
  </HeadingPairs>
  <TitlesOfParts>
    <vt:vector size="22" baseType="lpstr">
      <vt:lpstr>Aptos</vt:lpstr>
      <vt:lpstr>Arial</vt:lpstr>
      <vt:lpstr>Bradley Hand</vt:lpstr>
      <vt:lpstr>Calibri</vt:lpstr>
      <vt:lpstr>Roboto</vt:lpstr>
      <vt:lpstr>Roboto Condensed</vt:lpstr>
      <vt:lpstr>Roboto Flex Normal</vt:lpstr>
      <vt:lpstr>Roboto Flex Normal ExtraLight</vt:lpstr>
      <vt:lpstr>Roboto Flex Normal SemiBold</vt:lpstr>
      <vt:lpstr>Trebuchet MS</vt:lpstr>
      <vt:lpstr>Wingdings</vt:lpstr>
      <vt:lpstr>With Footer</vt:lpstr>
      <vt:lpstr>JOE</vt:lpstr>
      <vt:lpstr>think-cell Slide</vt:lpstr>
      <vt:lpstr>Ampler</vt:lpstr>
      <vt:lpstr>MONTHLY REVIEW</vt:lpstr>
      <vt:lpstr>MONTHLY BUSINESS REVIEW SEQEUNCE THE ANNOUNCED AUDIT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Oliver Jensen</cp:lastModifiedBy>
  <cp:revision>29</cp:revision>
  <dcterms:created xsi:type="dcterms:W3CDTF">2026-03-10T13:11:01Z</dcterms:created>
  <dcterms:modified xsi:type="dcterms:W3CDTF">2026-03-30T10:3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FEEA5666C6E445BD54A23E918F0C77</vt:lpwstr>
  </property>
  <property fmtid="{D5CDD505-2E9C-101B-9397-08002B2CF9AE}" pid="3" name="MediaServiceImageTags">
    <vt:lpwstr/>
  </property>
</Properties>
</file>